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sldIdLst>
    <p:sldId id="257" r:id="rId2"/>
  </p:sldIdLst>
  <p:sldSz cx="12192000" cy="6858000"/>
  <p:notesSz cx="6858000" cy="9144000"/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71" autoAdjust="0"/>
    <p:restoredTop sz="94660"/>
  </p:normalViewPr>
  <p:slideViewPr>
    <p:cSldViewPr snapToGrid="0">
      <p:cViewPr varScale="1">
        <p:scale>
          <a:sx n="73" d="100"/>
          <a:sy n="73" d="100"/>
        </p:scale>
        <p:origin x="612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F0E3ADB-8226-4474-8074-D076ACF5B7A6}" type="datetimeFigureOut">
              <a:rPr lang="it-IT" smtClean="0"/>
              <a:t>10/05/2019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 smtClean="0"/>
              <a:t>Modifica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F217E5D-D095-4A30-9F67-C2311B96BD03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8661543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trike="noStrike" dirty="0"/>
              <a:t>Let’s break</a:t>
            </a:r>
            <a:r>
              <a:rPr lang="en-US" strike="noStrike" baseline="0" dirty="0"/>
              <a:t> it down into the 3 element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trike="noStrike" baseline="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trike="noStrike" baseline="0" dirty="0" err="1"/>
              <a:t>Webex</a:t>
            </a:r>
            <a:r>
              <a:rPr lang="en-US" strike="noStrike" baseline="0" dirty="0"/>
              <a:t> Teams MESSAGING – is an easy to use, always connected, </a:t>
            </a:r>
            <a:r>
              <a:rPr lang="en-US" dirty="0"/>
              <a:t>service</a:t>
            </a:r>
            <a:r>
              <a:rPr lang="en-US" baseline="0" dirty="0"/>
              <a:t> built on the idea of </a:t>
            </a:r>
            <a:r>
              <a:rPr lang="en-US" dirty="0"/>
              <a:t>VIRTUAL ROOMS</a:t>
            </a:r>
            <a:r>
              <a:rPr lang="en-US" baseline="0" dirty="0"/>
              <a:t> with a excellent MOBILE EXPERIENCE.  M</a:t>
            </a:r>
            <a:r>
              <a:rPr lang="en-US" dirty="0"/>
              <a:t>essaging, content sharing and BASIC conferencing capabilities are now all</a:t>
            </a:r>
            <a:r>
              <a:rPr lang="en-US" baseline="0" dirty="0"/>
              <a:t> in one place</a:t>
            </a:r>
            <a:r>
              <a:rPr lang="en-US" dirty="0"/>
              <a:t>.    </a:t>
            </a:r>
            <a:r>
              <a:rPr lang="en-US" dirty="0">
                <a:solidFill>
                  <a:srgbClr val="676767"/>
                </a:solidFill>
                <a:latin typeface="CiscoSans Light" pitchFamily="34" charset="0"/>
              </a:rPr>
              <a:t>These “rooms” reduce the need for other tools like email and SHAREPOINT that were not truly built to support these types of workers and workstyles.   </a:t>
            </a: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trike="noStrike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trike="noStrike" dirty="0" err="1"/>
              <a:t>Webex</a:t>
            </a:r>
            <a:r>
              <a:rPr lang="en-US" strike="noStrike" dirty="0"/>
              <a:t> Teams</a:t>
            </a:r>
            <a:r>
              <a:rPr lang="en-US" strike="noStrike" baseline="0" dirty="0"/>
              <a:t> MEETINGS – People shouldn’t have to worry about what KIND OF MEETING they’re having.  Video Rooms, home office, branch office,  Driver’s seat, Airport</a:t>
            </a:r>
            <a:r>
              <a:rPr lang="is-IS" strike="noStrike" baseline="0" dirty="0"/>
              <a:t>…</a:t>
            </a:r>
            <a:r>
              <a:rPr lang="en-US" strike="noStrike" baseline="0" dirty="0"/>
              <a:t>Face to Face Video, Voice, and Content Sharing from any DEVICE, any ROOM, and any WORK ENVIRONMENT.  Leveraging the #1 Web collaboration tool WebEx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trike="noStrike" baseline="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trike="noStrike" baseline="0" dirty="0" err="1"/>
              <a:t>Webex</a:t>
            </a:r>
            <a:r>
              <a:rPr lang="en-US" strike="noStrike" baseline="0" dirty="0"/>
              <a:t> Teams CALL – This is your phone system or PBX in the cloud.  One-touch directory dialing, Single Number Reach, Single Voicemail from any device, anywhere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trike="noStrike" baseline="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trike="noStrike" baseline="0" dirty="0"/>
              <a:t>All delivered in a single experience and managed through a single Cloud Collaboration Management Portal. </a:t>
            </a:r>
            <a:r>
              <a:rPr lang="en-US" sz="800" kern="1200" dirty="0">
                <a:solidFill>
                  <a:schemeClr val="tx1"/>
                </a:solidFill>
                <a:effectLst/>
                <a:latin typeface="+mn-lt"/>
                <a:ea typeface="ＭＳ Ｐゴシック" charset="0"/>
                <a:cs typeface="ＭＳ Ｐゴシック" charset="0"/>
                <a:sym typeface="Calibri"/>
              </a:rPr>
              <a:t>Cloud Collaboration Management provides a single tool for administration, entitlement, management and reporting for Cisco WebEx Teams and Meetings</a:t>
            </a:r>
            <a:endParaRPr lang="en-US" strike="noStrike" dirty="0"/>
          </a:p>
          <a:p>
            <a:pPr marL="0" marR="0" indent="0" algn="l" defTabSz="457162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marL="0" marR="0" indent="0" algn="l" defTabSz="457162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marL="0" marR="0" indent="0" algn="l" defTabSz="457162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Building on</a:t>
            </a:r>
            <a:r>
              <a:rPr lang="en-US" baseline="0" dirty="0"/>
              <a:t> these 3 ELEMENTS</a:t>
            </a:r>
            <a:endParaRPr lang="en-US" sz="800" kern="1200" dirty="0">
              <a:solidFill>
                <a:schemeClr val="tx1"/>
              </a:solidFill>
              <a:effectLst/>
              <a:latin typeface="+mn-lt"/>
              <a:ea typeface="ＭＳ Ｐゴシック" charset="0"/>
              <a:cs typeface="ＭＳ Ｐゴシック" charset="0"/>
            </a:endParaRPr>
          </a:p>
          <a:p>
            <a:pPr marL="0" marR="0" indent="0" algn="l" defTabSz="457162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solidFill>
                  <a:schemeClr val="tx1"/>
                </a:solidFill>
                <a:effectLst/>
                <a:latin typeface="+mn-lt"/>
                <a:ea typeface="ＭＳ Ｐゴシック" charset="0"/>
                <a:cs typeface="ＭＳ Ｐゴシック" charset="0"/>
              </a:rPr>
              <a:t>.</a:t>
            </a:r>
            <a:endParaRPr lang="en-US" sz="100" dirty="0">
              <a:solidFill>
                <a:srgbClr val="676767"/>
              </a:solidFill>
            </a:endParaRPr>
          </a:p>
          <a:p>
            <a:pPr marL="0" marR="0" indent="0" algn="l" defTabSz="457162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Webex</a:t>
            </a:r>
            <a:r>
              <a:rPr lang="en-US" dirty="0"/>
              <a:t> Teams </a:t>
            </a:r>
            <a:r>
              <a:rPr lang="en-US" baseline="0" dirty="0"/>
              <a:t>is an </a:t>
            </a:r>
            <a:r>
              <a:rPr lang="en-US" dirty="0"/>
              <a:t>Open Platform</a:t>
            </a:r>
            <a:r>
              <a:rPr lang="en-US" baseline="0" dirty="0"/>
              <a:t> with</a:t>
            </a:r>
            <a:r>
              <a:rPr lang="is-IS" baseline="0" dirty="0"/>
              <a:t>…</a:t>
            </a:r>
            <a:endParaRPr lang="en-US" dirty="0"/>
          </a:p>
          <a:p>
            <a:pPr marL="171450" marR="0" indent="-171450" algn="l" defTabSz="457162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REST APIs for application integrations</a:t>
            </a:r>
            <a:r>
              <a:rPr lang="en-US" baseline="0" dirty="0"/>
              <a:t> and a playground for developers</a:t>
            </a:r>
            <a:endParaRPr lang="en-US" dirty="0"/>
          </a:p>
          <a:p>
            <a:pPr marL="171450" marR="0" indent="-171450" algn="l" defTabSz="457162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Partner Services provides inbound dialing, and PSTN connectivity</a:t>
            </a:r>
          </a:p>
          <a:p>
            <a:pPr marL="171450" marR="0" indent="-171450" algn="l" defTabSz="457162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And Hybrid</a:t>
            </a:r>
            <a:r>
              <a:rPr lang="en-US" baseline="0" dirty="0"/>
              <a:t> Services for integrating Cloud </a:t>
            </a:r>
            <a:r>
              <a:rPr lang="en-US" baseline="0" dirty="0" err="1"/>
              <a:t>Webex</a:t>
            </a:r>
            <a:r>
              <a:rPr lang="en-US" baseline="0" dirty="0"/>
              <a:t> applications with existing on </a:t>
            </a:r>
            <a:r>
              <a:rPr lang="en-US" baseline="0" dirty="0" err="1"/>
              <a:t>prem</a:t>
            </a:r>
            <a:r>
              <a:rPr lang="en-US" baseline="0" dirty="0"/>
              <a:t> investments</a:t>
            </a:r>
            <a:endParaRPr lang="en-GB" baseline="0" dirty="0"/>
          </a:p>
          <a:p>
            <a:pPr marL="171450" marR="0" indent="-171450" algn="l" defTabSz="457162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/>
              <a:buChar char="•"/>
              <a:tabLst/>
              <a:defRPr/>
            </a:pPr>
            <a:endParaRPr lang="en-US" dirty="0"/>
          </a:p>
          <a:p>
            <a:pPr marL="0" marR="0" indent="0" algn="l" defTabSz="457162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7A73F9E-5991-4B50-9E3B-61E4DA825B9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912234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 smtClean="0"/>
              <a:t>Fare clic per modificare lo stile del sottotitolo dello schema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F4E1C5-DCF2-4407-9E38-CEC782E0BAC1}" type="datetimeFigureOut">
              <a:rPr lang="it-IT" smtClean="0"/>
              <a:t>10/05/2019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342A01-AE72-478B-A5EB-06FA99491583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51212340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 smtClean="0"/>
              <a:t>Modifica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F4E1C5-DCF2-4407-9E38-CEC782E0BAC1}" type="datetimeFigureOut">
              <a:rPr lang="it-IT" smtClean="0"/>
              <a:t>10/05/2019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342A01-AE72-478B-A5EB-06FA99491583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70586853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it-IT" smtClean="0"/>
              <a:t>Modifica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F4E1C5-DCF2-4407-9E38-CEC782E0BAC1}" type="datetimeFigureOut">
              <a:rPr lang="it-IT" smtClean="0"/>
              <a:t>10/05/2019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342A01-AE72-478B-A5EB-06FA99491583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54837208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733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246410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 smtClean="0"/>
              <a:t>Modifica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F4E1C5-DCF2-4407-9E38-CEC782E0BAC1}" type="datetimeFigureOut">
              <a:rPr lang="it-IT" smtClean="0"/>
              <a:t>10/05/2019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342A01-AE72-478B-A5EB-06FA99491583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9481784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 smtClean="0"/>
              <a:t>Modifica gli stili del testo dello schema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F4E1C5-DCF2-4407-9E38-CEC782E0BAC1}" type="datetimeFigureOut">
              <a:rPr lang="it-IT" smtClean="0"/>
              <a:t>10/05/2019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342A01-AE72-478B-A5EB-06FA99491583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3849517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it-IT" smtClean="0"/>
              <a:t>Modifica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it-IT" smtClean="0"/>
              <a:t>Modifica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F4E1C5-DCF2-4407-9E38-CEC782E0BAC1}" type="datetimeFigureOut">
              <a:rPr lang="it-IT" smtClean="0"/>
              <a:t>10/05/2019</a:t>
            </a:fld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342A01-AE72-478B-A5EB-06FA99491583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6090924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Modifica gli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it-IT" smtClean="0"/>
              <a:t>Modifica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Modifica gli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it-IT" smtClean="0"/>
              <a:t>Modifica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7" name="Segnaposto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F4E1C5-DCF2-4407-9E38-CEC782E0BAC1}" type="datetimeFigureOut">
              <a:rPr lang="it-IT" smtClean="0"/>
              <a:t>10/05/2019</a:t>
            </a:fld>
            <a:endParaRPr lang="it-IT"/>
          </a:p>
        </p:txBody>
      </p:sp>
      <p:sp>
        <p:nvSpPr>
          <p:cNvPr id="8" name="Segnaposto piè di pa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9" name="Segnaposto numero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342A01-AE72-478B-A5EB-06FA99491583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49668546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F4E1C5-DCF2-4407-9E38-CEC782E0BAC1}" type="datetimeFigureOut">
              <a:rPr lang="it-IT" smtClean="0"/>
              <a:t>10/05/2019</a:t>
            </a:fld>
            <a:endParaRPr lang="it-IT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342A01-AE72-478B-A5EB-06FA99491583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03846186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F4E1C5-DCF2-4407-9E38-CEC782E0BAC1}" type="datetimeFigureOut">
              <a:rPr lang="it-IT" smtClean="0"/>
              <a:t>10/05/2019</a:t>
            </a:fld>
            <a:endParaRPr lang="it-IT"/>
          </a:p>
        </p:txBody>
      </p:sp>
      <p:sp>
        <p:nvSpPr>
          <p:cNvPr id="3" name="Segnaposto piè di pa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342A01-AE72-478B-A5EB-06FA99491583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82303201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 smtClean="0"/>
              <a:t>Modifica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 smtClean="0"/>
              <a:t>Modifica gli stili del testo dello schema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F4E1C5-DCF2-4407-9E38-CEC782E0BAC1}" type="datetimeFigureOut">
              <a:rPr lang="it-IT" smtClean="0"/>
              <a:t>10/05/2019</a:t>
            </a:fld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342A01-AE72-478B-A5EB-06FA99491583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18907320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 smtClean="0"/>
              <a:t>Modifica gli stili del testo dello schema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F4E1C5-DCF2-4407-9E38-CEC782E0BAC1}" type="datetimeFigureOut">
              <a:rPr lang="it-IT" smtClean="0"/>
              <a:t>10/05/2019</a:t>
            </a:fld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342A01-AE72-478B-A5EB-06FA99491583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5661220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 smtClean="0"/>
              <a:t>Modifica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5F4E1C5-DCF2-4407-9E38-CEC782E0BAC1}" type="datetimeFigureOut">
              <a:rPr lang="it-IT" smtClean="0"/>
              <a:t>10/05/2019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D342A01-AE72-478B-A5EB-06FA99491583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8774771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tif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9C6153-E8A3-E24B-963A-D0144CEB34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30336" y="375813"/>
            <a:ext cx="4210381" cy="975783"/>
          </a:xfrm>
        </p:spPr>
        <p:txBody>
          <a:bodyPr/>
          <a:lstStyle/>
          <a:p>
            <a:pPr algn="ctr"/>
            <a:r>
              <a:rPr lang="it-IT" b="1" dirty="0" smtClean="0"/>
              <a:t>Cisco </a:t>
            </a:r>
            <a:r>
              <a:rPr lang="it-IT" b="1" dirty="0" err="1" smtClean="0"/>
              <a:t>Webex</a:t>
            </a:r>
            <a:r>
              <a:rPr lang="it-IT" b="1" dirty="0" smtClean="0"/>
              <a:t> Teams</a:t>
            </a:r>
            <a:endParaRPr lang="it-IT" b="1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92DD09EC-0A1C-2D40-B25A-2EE3F1311671}"/>
              </a:ext>
            </a:extLst>
          </p:cNvPr>
          <p:cNvGrpSpPr/>
          <p:nvPr/>
        </p:nvGrpSpPr>
        <p:grpSpPr>
          <a:xfrm>
            <a:off x="660400" y="3786698"/>
            <a:ext cx="10871200" cy="370640"/>
            <a:chOff x="495300" y="3323555"/>
            <a:chExt cx="8153400" cy="277980"/>
          </a:xfrm>
        </p:grpSpPr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D9C2E60D-019E-1947-B9AD-52BB1C06EA70}"/>
                </a:ext>
              </a:extLst>
            </p:cNvPr>
            <p:cNvCxnSpPr/>
            <p:nvPr/>
          </p:nvCxnSpPr>
          <p:spPr>
            <a:xfrm>
              <a:off x="495300" y="3462002"/>
              <a:ext cx="8153400" cy="0"/>
            </a:xfrm>
            <a:prstGeom prst="line">
              <a:avLst/>
            </a:prstGeom>
            <a:ln>
              <a:solidFill>
                <a:schemeClr val="tx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Rounded Rectangle 4">
              <a:extLst>
                <a:ext uri="{FF2B5EF4-FFF2-40B4-BE49-F238E27FC236}">
                  <a16:creationId xmlns:a16="http://schemas.microsoft.com/office/drawing/2014/main" id="{0865798B-7E80-004B-917E-FC5572EFD613}"/>
                </a:ext>
              </a:extLst>
            </p:cNvPr>
            <p:cNvSpPr/>
            <p:nvPr/>
          </p:nvSpPr>
          <p:spPr>
            <a:xfrm>
              <a:off x="3003362" y="3323555"/>
              <a:ext cx="3142870" cy="277980"/>
            </a:xfrm>
            <a:prstGeom prst="roundRect">
              <a:avLst/>
            </a:prstGeom>
            <a:solidFill>
              <a:srgbClr val="FFFFFF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00B0F0"/>
                  </a:solidFill>
                  <a:effectLst/>
                  <a:uLnTx/>
                  <a:uFillTx/>
                  <a:latin typeface="CiscoSansTT ExtraLight"/>
                  <a:ea typeface="+mn-ea"/>
                  <a:cs typeface="+mn-cs"/>
                </a:rPr>
                <a:t>Open Platform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86DA9447-0C2D-9C4A-9D52-F088FB09E086}"/>
              </a:ext>
            </a:extLst>
          </p:cNvPr>
          <p:cNvGrpSpPr/>
          <p:nvPr/>
        </p:nvGrpSpPr>
        <p:grpSpPr>
          <a:xfrm>
            <a:off x="660400" y="1610170"/>
            <a:ext cx="10871200" cy="408708"/>
            <a:chOff x="495300" y="1460702"/>
            <a:chExt cx="8153400" cy="306531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B4D0DC8-906C-ED42-8C52-2DE2AA5119E0}"/>
                </a:ext>
              </a:extLst>
            </p:cNvPr>
            <p:cNvCxnSpPr/>
            <p:nvPr/>
          </p:nvCxnSpPr>
          <p:spPr>
            <a:xfrm>
              <a:off x="495300" y="1616787"/>
              <a:ext cx="8153400" cy="0"/>
            </a:xfrm>
            <a:prstGeom prst="line">
              <a:avLst/>
            </a:prstGeom>
            <a:ln>
              <a:solidFill>
                <a:schemeClr val="tx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Rounded Rectangle 7">
              <a:extLst>
                <a:ext uri="{FF2B5EF4-FFF2-40B4-BE49-F238E27FC236}">
                  <a16:creationId xmlns:a16="http://schemas.microsoft.com/office/drawing/2014/main" id="{852BF9BB-F35A-6649-A19C-200DE54AD398}"/>
                </a:ext>
              </a:extLst>
            </p:cNvPr>
            <p:cNvSpPr/>
            <p:nvPr/>
          </p:nvSpPr>
          <p:spPr>
            <a:xfrm>
              <a:off x="2379811" y="1460702"/>
              <a:ext cx="4381292" cy="306531"/>
            </a:xfrm>
            <a:prstGeom prst="roundRect">
              <a:avLst/>
            </a:prstGeom>
            <a:solidFill>
              <a:srgbClr val="FFFFFF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00B0F0"/>
                  </a:solidFill>
                  <a:effectLst/>
                  <a:uLnTx/>
                  <a:uFillTx/>
                  <a:latin typeface="CiscoSansTT ExtraLight"/>
                  <a:ea typeface="+mn-ea"/>
                  <a:cs typeface="+mn-cs"/>
                </a:rPr>
                <a:t>Common Management</a:t>
              </a:r>
            </a:p>
          </p:txBody>
        </p:sp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6DA9DC09-F60A-CA43-904C-421CDDB2E26C}"/>
              </a:ext>
            </a:extLst>
          </p:cNvPr>
          <p:cNvSpPr/>
          <p:nvPr/>
        </p:nvSpPr>
        <p:spPr>
          <a:xfrm>
            <a:off x="660401" y="5320255"/>
            <a:ext cx="3543300" cy="60542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67" b="0" i="0" u="none" strike="noStrike" kern="1200" cap="none" spc="0" normalizeH="0" baseline="0" noProof="0" dirty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</a:rPr>
              <a:t>Webex Teams for Developer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7" b="0" i="0" u="none" strike="noStrike" kern="1200" cap="none" spc="0" normalizeH="0" baseline="0" noProof="0" dirty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</a:rPr>
              <a:t>User Integrations, APIs/SDKs, etc.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BD4255B-F72E-8B48-8FAB-C8269522AF2F}"/>
              </a:ext>
            </a:extLst>
          </p:cNvPr>
          <p:cNvSpPr/>
          <p:nvPr/>
        </p:nvSpPr>
        <p:spPr>
          <a:xfrm>
            <a:off x="7988298" y="5320255"/>
            <a:ext cx="3543299" cy="60542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67" b="0" i="0" u="none" strike="noStrike" kern="1200" cap="none" spc="0" normalizeH="0" baseline="0" noProof="0" dirty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</a:rPr>
              <a:t>Webex Hybrid Servic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7" b="0" i="0" u="none" strike="noStrike" kern="1200" cap="none" spc="0" normalizeH="0" baseline="0" noProof="0" dirty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</a:rPr>
              <a:t>Cloud + Prem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DEDD5A0-D271-8640-831C-6A4C7F573210}"/>
              </a:ext>
            </a:extLst>
          </p:cNvPr>
          <p:cNvSpPr/>
          <p:nvPr/>
        </p:nvSpPr>
        <p:spPr>
          <a:xfrm>
            <a:off x="4203700" y="5320255"/>
            <a:ext cx="3784599" cy="60542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67" b="0" i="0" u="none" strike="noStrike" kern="1200" cap="none" spc="0" normalizeH="0" baseline="0" noProof="0" dirty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</a:rPr>
              <a:t>Partner Servic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7" b="0" i="0" u="none" strike="noStrike" kern="1200" cap="none" spc="0" normalizeH="0" baseline="0" noProof="0" dirty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</a:rPr>
              <a:t>Interconnect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7FF58E87-FE5B-B440-B582-66CEA69A12E4}"/>
              </a:ext>
            </a:extLst>
          </p:cNvPr>
          <p:cNvGrpSpPr/>
          <p:nvPr/>
        </p:nvGrpSpPr>
        <p:grpSpPr>
          <a:xfrm>
            <a:off x="9218037" y="4605032"/>
            <a:ext cx="1083823" cy="699898"/>
            <a:chOff x="6913527" y="3386227"/>
            <a:chExt cx="812867" cy="524923"/>
          </a:xfrm>
        </p:grpSpPr>
        <p:sp>
          <p:nvSpPr>
            <p:cNvPr id="13" name="Freeform 27">
              <a:extLst>
                <a:ext uri="{FF2B5EF4-FFF2-40B4-BE49-F238E27FC236}">
                  <a16:creationId xmlns:a16="http://schemas.microsoft.com/office/drawing/2014/main" id="{EFA70494-B588-284E-A9F8-D0B7AF37467B}"/>
                </a:ext>
              </a:extLst>
            </p:cNvPr>
            <p:cNvSpPr>
              <a:spLocks/>
            </p:cNvSpPr>
            <p:nvPr/>
          </p:nvSpPr>
          <p:spPr bwMode="auto">
            <a:xfrm>
              <a:off x="6913527" y="3386227"/>
              <a:ext cx="812867" cy="524923"/>
            </a:xfrm>
            <a:custGeom>
              <a:avLst/>
              <a:gdLst>
                <a:gd name="T0" fmla="*/ 347 w 434"/>
                <a:gd name="T1" fmla="*/ 102 h 279"/>
                <a:gd name="T2" fmla="*/ 344 w 434"/>
                <a:gd name="T3" fmla="*/ 102 h 279"/>
                <a:gd name="T4" fmla="*/ 344 w 434"/>
                <a:gd name="T5" fmla="*/ 101 h 279"/>
                <a:gd name="T6" fmla="*/ 243 w 434"/>
                <a:gd name="T7" fmla="*/ 0 h 279"/>
                <a:gd name="T8" fmla="*/ 153 w 434"/>
                <a:gd name="T9" fmla="*/ 57 h 279"/>
                <a:gd name="T10" fmla="*/ 121 w 434"/>
                <a:gd name="T11" fmla="*/ 45 h 279"/>
                <a:gd name="T12" fmla="*/ 72 w 434"/>
                <a:gd name="T13" fmla="*/ 94 h 279"/>
                <a:gd name="T14" fmla="*/ 73 w 434"/>
                <a:gd name="T15" fmla="*/ 103 h 279"/>
                <a:gd name="T16" fmla="*/ 0 w 434"/>
                <a:gd name="T17" fmla="*/ 190 h 279"/>
                <a:gd name="T18" fmla="*/ 88 w 434"/>
                <a:gd name="T19" fmla="*/ 279 h 279"/>
                <a:gd name="T20" fmla="*/ 347 w 434"/>
                <a:gd name="T21" fmla="*/ 279 h 279"/>
                <a:gd name="T22" fmla="*/ 434 w 434"/>
                <a:gd name="T23" fmla="*/ 190 h 279"/>
                <a:gd name="T24" fmla="*/ 347 w 434"/>
                <a:gd name="T25" fmla="*/ 102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4" h="279">
                  <a:moveTo>
                    <a:pt x="347" y="102"/>
                  </a:moveTo>
                  <a:cubicBezTo>
                    <a:pt x="344" y="102"/>
                    <a:pt x="344" y="102"/>
                    <a:pt x="344" y="102"/>
                  </a:cubicBezTo>
                  <a:cubicBezTo>
                    <a:pt x="344" y="101"/>
                    <a:pt x="344" y="101"/>
                    <a:pt x="344" y="101"/>
                  </a:cubicBezTo>
                  <a:cubicBezTo>
                    <a:pt x="344" y="45"/>
                    <a:pt x="299" y="0"/>
                    <a:pt x="243" y="0"/>
                  </a:cubicBezTo>
                  <a:cubicBezTo>
                    <a:pt x="203" y="0"/>
                    <a:pt x="169" y="23"/>
                    <a:pt x="153" y="57"/>
                  </a:cubicBezTo>
                  <a:cubicBezTo>
                    <a:pt x="144" y="49"/>
                    <a:pt x="133" y="45"/>
                    <a:pt x="121" y="45"/>
                  </a:cubicBezTo>
                  <a:cubicBezTo>
                    <a:pt x="94" y="45"/>
                    <a:pt x="72" y="67"/>
                    <a:pt x="72" y="94"/>
                  </a:cubicBezTo>
                  <a:cubicBezTo>
                    <a:pt x="72" y="97"/>
                    <a:pt x="72" y="100"/>
                    <a:pt x="73" y="103"/>
                  </a:cubicBezTo>
                  <a:cubicBezTo>
                    <a:pt x="31" y="110"/>
                    <a:pt x="0" y="146"/>
                    <a:pt x="0" y="190"/>
                  </a:cubicBezTo>
                  <a:cubicBezTo>
                    <a:pt x="0" y="239"/>
                    <a:pt x="39" y="279"/>
                    <a:pt x="88" y="279"/>
                  </a:cubicBezTo>
                  <a:cubicBezTo>
                    <a:pt x="347" y="279"/>
                    <a:pt x="347" y="279"/>
                    <a:pt x="347" y="279"/>
                  </a:cubicBezTo>
                  <a:cubicBezTo>
                    <a:pt x="395" y="279"/>
                    <a:pt x="434" y="239"/>
                    <a:pt x="434" y="190"/>
                  </a:cubicBezTo>
                  <a:cubicBezTo>
                    <a:pt x="434" y="141"/>
                    <a:pt x="395" y="102"/>
                    <a:pt x="347" y="102"/>
                  </a:cubicBezTo>
                  <a:close/>
                </a:path>
              </a:pathLst>
            </a:custGeom>
            <a:solidFill>
              <a:schemeClr val="tx2"/>
            </a:solidFill>
            <a:ln w="3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400" b="0" i="0" u="none" strike="noStrike" kern="1200" cap="none" spc="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14" name="Freeform 113">
              <a:extLst>
                <a:ext uri="{FF2B5EF4-FFF2-40B4-BE49-F238E27FC236}">
                  <a16:creationId xmlns:a16="http://schemas.microsoft.com/office/drawing/2014/main" id="{B3CC7D1A-5D6B-D84E-9145-9FE2B03EDA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42432" y="3564593"/>
              <a:ext cx="155057" cy="285632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0" y="411"/>
                </a:cxn>
                <a:cxn ang="0">
                  <a:pos x="77" y="341"/>
                </a:cxn>
                <a:cxn ang="0">
                  <a:pos x="146" y="411"/>
                </a:cxn>
                <a:cxn ang="0">
                  <a:pos x="223" y="9"/>
                </a:cxn>
                <a:cxn ang="0">
                  <a:pos x="69" y="317"/>
                </a:cxn>
                <a:cxn ang="0">
                  <a:pos x="18" y="282"/>
                </a:cxn>
                <a:cxn ang="0">
                  <a:pos x="69" y="317"/>
                </a:cxn>
                <a:cxn ang="0">
                  <a:pos x="18" y="222"/>
                </a:cxn>
                <a:cxn ang="0">
                  <a:pos x="69" y="257"/>
                </a:cxn>
                <a:cxn ang="0">
                  <a:pos x="69" y="197"/>
                </a:cxn>
                <a:cxn ang="0">
                  <a:pos x="18" y="163"/>
                </a:cxn>
                <a:cxn ang="0">
                  <a:pos x="69" y="197"/>
                </a:cxn>
                <a:cxn ang="0">
                  <a:pos x="18" y="137"/>
                </a:cxn>
                <a:cxn ang="0">
                  <a:pos x="69" y="103"/>
                </a:cxn>
                <a:cxn ang="0">
                  <a:pos x="69" y="77"/>
                </a:cxn>
                <a:cxn ang="0">
                  <a:pos x="18" y="43"/>
                </a:cxn>
                <a:cxn ang="0">
                  <a:pos x="69" y="77"/>
                </a:cxn>
                <a:cxn ang="0">
                  <a:pos x="86" y="317"/>
                </a:cxn>
                <a:cxn ang="0">
                  <a:pos x="137" y="282"/>
                </a:cxn>
                <a:cxn ang="0">
                  <a:pos x="86" y="257"/>
                </a:cxn>
                <a:cxn ang="0">
                  <a:pos x="137" y="222"/>
                </a:cxn>
                <a:cxn ang="0">
                  <a:pos x="86" y="257"/>
                </a:cxn>
                <a:cxn ang="0">
                  <a:pos x="86" y="197"/>
                </a:cxn>
                <a:cxn ang="0">
                  <a:pos x="137" y="163"/>
                </a:cxn>
                <a:cxn ang="0">
                  <a:pos x="137" y="137"/>
                </a:cxn>
                <a:cxn ang="0">
                  <a:pos x="86" y="103"/>
                </a:cxn>
                <a:cxn ang="0">
                  <a:pos x="137" y="137"/>
                </a:cxn>
                <a:cxn ang="0">
                  <a:pos x="86" y="77"/>
                </a:cxn>
                <a:cxn ang="0">
                  <a:pos x="137" y="43"/>
                </a:cxn>
                <a:cxn ang="0">
                  <a:pos x="206" y="317"/>
                </a:cxn>
                <a:cxn ang="0">
                  <a:pos x="154" y="282"/>
                </a:cxn>
                <a:cxn ang="0">
                  <a:pos x="206" y="317"/>
                </a:cxn>
                <a:cxn ang="0">
                  <a:pos x="154" y="222"/>
                </a:cxn>
                <a:cxn ang="0">
                  <a:pos x="206" y="257"/>
                </a:cxn>
                <a:cxn ang="0">
                  <a:pos x="206" y="197"/>
                </a:cxn>
                <a:cxn ang="0">
                  <a:pos x="154" y="163"/>
                </a:cxn>
                <a:cxn ang="0">
                  <a:pos x="206" y="197"/>
                </a:cxn>
                <a:cxn ang="0">
                  <a:pos x="154" y="137"/>
                </a:cxn>
                <a:cxn ang="0">
                  <a:pos x="206" y="103"/>
                </a:cxn>
                <a:cxn ang="0">
                  <a:pos x="206" y="77"/>
                </a:cxn>
                <a:cxn ang="0">
                  <a:pos x="154" y="43"/>
                </a:cxn>
                <a:cxn ang="0">
                  <a:pos x="206" y="77"/>
                </a:cxn>
              </a:cxnLst>
              <a:rect l="0" t="0" r="r" b="b"/>
              <a:pathLst>
                <a:path w="223" h="411">
                  <a:moveTo>
                    <a:pt x="214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411"/>
                    <a:pt x="0" y="411"/>
                    <a:pt x="0" y="411"/>
                  </a:cubicBezTo>
                  <a:cubicBezTo>
                    <a:pt x="77" y="411"/>
                    <a:pt x="77" y="411"/>
                    <a:pt x="77" y="411"/>
                  </a:cubicBezTo>
                  <a:cubicBezTo>
                    <a:pt x="77" y="341"/>
                    <a:pt x="77" y="341"/>
                    <a:pt x="77" y="341"/>
                  </a:cubicBezTo>
                  <a:cubicBezTo>
                    <a:pt x="146" y="341"/>
                    <a:pt x="146" y="341"/>
                    <a:pt x="146" y="341"/>
                  </a:cubicBezTo>
                  <a:cubicBezTo>
                    <a:pt x="146" y="411"/>
                    <a:pt x="146" y="411"/>
                    <a:pt x="146" y="411"/>
                  </a:cubicBezTo>
                  <a:cubicBezTo>
                    <a:pt x="223" y="411"/>
                    <a:pt x="223" y="411"/>
                    <a:pt x="223" y="411"/>
                  </a:cubicBezTo>
                  <a:cubicBezTo>
                    <a:pt x="223" y="9"/>
                    <a:pt x="223" y="9"/>
                    <a:pt x="223" y="9"/>
                  </a:cubicBezTo>
                  <a:cubicBezTo>
                    <a:pt x="223" y="4"/>
                    <a:pt x="219" y="0"/>
                    <a:pt x="214" y="0"/>
                  </a:cubicBezTo>
                  <a:close/>
                  <a:moveTo>
                    <a:pt x="69" y="317"/>
                  </a:moveTo>
                  <a:cubicBezTo>
                    <a:pt x="18" y="317"/>
                    <a:pt x="18" y="317"/>
                    <a:pt x="18" y="317"/>
                  </a:cubicBezTo>
                  <a:cubicBezTo>
                    <a:pt x="18" y="282"/>
                    <a:pt x="18" y="282"/>
                    <a:pt x="18" y="282"/>
                  </a:cubicBezTo>
                  <a:cubicBezTo>
                    <a:pt x="69" y="282"/>
                    <a:pt x="69" y="282"/>
                    <a:pt x="69" y="282"/>
                  </a:cubicBezTo>
                  <a:lnTo>
                    <a:pt x="69" y="317"/>
                  </a:lnTo>
                  <a:close/>
                  <a:moveTo>
                    <a:pt x="18" y="257"/>
                  </a:moveTo>
                  <a:cubicBezTo>
                    <a:pt x="18" y="222"/>
                    <a:pt x="18" y="222"/>
                    <a:pt x="18" y="222"/>
                  </a:cubicBezTo>
                  <a:cubicBezTo>
                    <a:pt x="69" y="222"/>
                    <a:pt x="69" y="222"/>
                    <a:pt x="69" y="222"/>
                  </a:cubicBezTo>
                  <a:cubicBezTo>
                    <a:pt x="69" y="257"/>
                    <a:pt x="69" y="257"/>
                    <a:pt x="69" y="257"/>
                  </a:cubicBezTo>
                  <a:lnTo>
                    <a:pt x="18" y="257"/>
                  </a:lnTo>
                  <a:close/>
                  <a:moveTo>
                    <a:pt x="69" y="197"/>
                  </a:moveTo>
                  <a:cubicBezTo>
                    <a:pt x="18" y="197"/>
                    <a:pt x="18" y="197"/>
                    <a:pt x="18" y="197"/>
                  </a:cubicBezTo>
                  <a:cubicBezTo>
                    <a:pt x="18" y="163"/>
                    <a:pt x="18" y="163"/>
                    <a:pt x="18" y="163"/>
                  </a:cubicBezTo>
                  <a:cubicBezTo>
                    <a:pt x="69" y="163"/>
                    <a:pt x="69" y="163"/>
                    <a:pt x="69" y="163"/>
                  </a:cubicBezTo>
                  <a:lnTo>
                    <a:pt x="69" y="197"/>
                  </a:lnTo>
                  <a:close/>
                  <a:moveTo>
                    <a:pt x="69" y="137"/>
                  </a:moveTo>
                  <a:cubicBezTo>
                    <a:pt x="18" y="137"/>
                    <a:pt x="18" y="137"/>
                    <a:pt x="18" y="137"/>
                  </a:cubicBezTo>
                  <a:cubicBezTo>
                    <a:pt x="18" y="103"/>
                    <a:pt x="18" y="103"/>
                    <a:pt x="18" y="103"/>
                  </a:cubicBezTo>
                  <a:cubicBezTo>
                    <a:pt x="69" y="103"/>
                    <a:pt x="69" y="103"/>
                    <a:pt x="69" y="103"/>
                  </a:cubicBezTo>
                  <a:lnTo>
                    <a:pt x="69" y="137"/>
                  </a:lnTo>
                  <a:close/>
                  <a:moveTo>
                    <a:pt x="69" y="77"/>
                  </a:moveTo>
                  <a:cubicBezTo>
                    <a:pt x="18" y="77"/>
                    <a:pt x="18" y="77"/>
                    <a:pt x="18" y="77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69" y="43"/>
                    <a:pt x="69" y="43"/>
                    <a:pt x="69" y="43"/>
                  </a:cubicBezTo>
                  <a:lnTo>
                    <a:pt x="69" y="77"/>
                  </a:lnTo>
                  <a:close/>
                  <a:moveTo>
                    <a:pt x="137" y="317"/>
                  </a:moveTo>
                  <a:cubicBezTo>
                    <a:pt x="86" y="317"/>
                    <a:pt x="86" y="317"/>
                    <a:pt x="86" y="317"/>
                  </a:cubicBezTo>
                  <a:cubicBezTo>
                    <a:pt x="86" y="282"/>
                    <a:pt x="86" y="282"/>
                    <a:pt x="86" y="282"/>
                  </a:cubicBezTo>
                  <a:cubicBezTo>
                    <a:pt x="137" y="282"/>
                    <a:pt x="137" y="282"/>
                    <a:pt x="137" y="282"/>
                  </a:cubicBezTo>
                  <a:lnTo>
                    <a:pt x="137" y="317"/>
                  </a:lnTo>
                  <a:close/>
                  <a:moveTo>
                    <a:pt x="86" y="257"/>
                  </a:moveTo>
                  <a:cubicBezTo>
                    <a:pt x="86" y="222"/>
                    <a:pt x="86" y="222"/>
                    <a:pt x="86" y="222"/>
                  </a:cubicBezTo>
                  <a:cubicBezTo>
                    <a:pt x="137" y="222"/>
                    <a:pt x="137" y="222"/>
                    <a:pt x="137" y="222"/>
                  </a:cubicBezTo>
                  <a:cubicBezTo>
                    <a:pt x="137" y="257"/>
                    <a:pt x="137" y="257"/>
                    <a:pt x="137" y="257"/>
                  </a:cubicBezTo>
                  <a:lnTo>
                    <a:pt x="86" y="257"/>
                  </a:lnTo>
                  <a:close/>
                  <a:moveTo>
                    <a:pt x="137" y="197"/>
                  </a:moveTo>
                  <a:cubicBezTo>
                    <a:pt x="86" y="197"/>
                    <a:pt x="86" y="197"/>
                    <a:pt x="86" y="197"/>
                  </a:cubicBezTo>
                  <a:cubicBezTo>
                    <a:pt x="86" y="163"/>
                    <a:pt x="86" y="163"/>
                    <a:pt x="86" y="163"/>
                  </a:cubicBezTo>
                  <a:cubicBezTo>
                    <a:pt x="137" y="163"/>
                    <a:pt x="137" y="163"/>
                    <a:pt x="137" y="163"/>
                  </a:cubicBezTo>
                  <a:lnTo>
                    <a:pt x="137" y="197"/>
                  </a:lnTo>
                  <a:close/>
                  <a:moveTo>
                    <a:pt x="137" y="137"/>
                  </a:moveTo>
                  <a:cubicBezTo>
                    <a:pt x="86" y="137"/>
                    <a:pt x="86" y="137"/>
                    <a:pt x="86" y="137"/>
                  </a:cubicBezTo>
                  <a:cubicBezTo>
                    <a:pt x="86" y="103"/>
                    <a:pt x="86" y="103"/>
                    <a:pt x="86" y="103"/>
                  </a:cubicBezTo>
                  <a:cubicBezTo>
                    <a:pt x="137" y="103"/>
                    <a:pt x="137" y="103"/>
                    <a:pt x="137" y="103"/>
                  </a:cubicBezTo>
                  <a:lnTo>
                    <a:pt x="137" y="137"/>
                  </a:lnTo>
                  <a:close/>
                  <a:moveTo>
                    <a:pt x="137" y="77"/>
                  </a:moveTo>
                  <a:cubicBezTo>
                    <a:pt x="86" y="77"/>
                    <a:pt x="86" y="77"/>
                    <a:pt x="86" y="77"/>
                  </a:cubicBezTo>
                  <a:cubicBezTo>
                    <a:pt x="86" y="43"/>
                    <a:pt x="86" y="43"/>
                    <a:pt x="86" y="43"/>
                  </a:cubicBezTo>
                  <a:cubicBezTo>
                    <a:pt x="137" y="43"/>
                    <a:pt x="137" y="43"/>
                    <a:pt x="137" y="43"/>
                  </a:cubicBezTo>
                  <a:lnTo>
                    <a:pt x="137" y="77"/>
                  </a:lnTo>
                  <a:close/>
                  <a:moveTo>
                    <a:pt x="206" y="317"/>
                  </a:moveTo>
                  <a:cubicBezTo>
                    <a:pt x="154" y="317"/>
                    <a:pt x="154" y="317"/>
                    <a:pt x="154" y="317"/>
                  </a:cubicBezTo>
                  <a:cubicBezTo>
                    <a:pt x="154" y="282"/>
                    <a:pt x="154" y="282"/>
                    <a:pt x="154" y="282"/>
                  </a:cubicBezTo>
                  <a:cubicBezTo>
                    <a:pt x="206" y="282"/>
                    <a:pt x="206" y="282"/>
                    <a:pt x="206" y="282"/>
                  </a:cubicBezTo>
                  <a:lnTo>
                    <a:pt x="206" y="317"/>
                  </a:lnTo>
                  <a:close/>
                  <a:moveTo>
                    <a:pt x="154" y="257"/>
                  </a:moveTo>
                  <a:cubicBezTo>
                    <a:pt x="154" y="222"/>
                    <a:pt x="154" y="222"/>
                    <a:pt x="154" y="222"/>
                  </a:cubicBezTo>
                  <a:cubicBezTo>
                    <a:pt x="206" y="222"/>
                    <a:pt x="206" y="222"/>
                    <a:pt x="206" y="222"/>
                  </a:cubicBezTo>
                  <a:cubicBezTo>
                    <a:pt x="206" y="257"/>
                    <a:pt x="206" y="257"/>
                    <a:pt x="206" y="257"/>
                  </a:cubicBezTo>
                  <a:lnTo>
                    <a:pt x="154" y="257"/>
                  </a:lnTo>
                  <a:close/>
                  <a:moveTo>
                    <a:pt x="206" y="197"/>
                  </a:moveTo>
                  <a:cubicBezTo>
                    <a:pt x="154" y="197"/>
                    <a:pt x="154" y="197"/>
                    <a:pt x="154" y="197"/>
                  </a:cubicBezTo>
                  <a:cubicBezTo>
                    <a:pt x="154" y="163"/>
                    <a:pt x="154" y="163"/>
                    <a:pt x="154" y="163"/>
                  </a:cubicBezTo>
                  <a:cubicBezTo>
                    <a:pt x="206" y="163"/>
                    <a:pt x="206" y="163"/>
                    <a:pt x="206" y="163"/>
                  </a:cubicBezTo>
                  <a:lnTo>
                    <a:pt x="206" y="197"/>
                  </a:lnTo>
                  <a:close/>
                  <a:moveTo>
                    <a:pt x="206" y="137"/>
                  </a:moveTo>
                  <a:cubicBezTo>
                    <a:pt x="154" y="137"/>
                    <a:pt x="154" y="137"/>
                    <a:pt x="154" y="137"/>
                  </a:cubicBezTo>
                  <a:cubicBezTo>
                    <a:pt x="154" y="103"/>
                    <a:pt x="154" y="103"/>
                    <a:pt x="154" y="103"/>
                  </a:cubicBezTo>
                  <a:cubicBezTo>
                    <a:pt x="206" y="103"/>
                    <a:pt x="206" y="103"/>
                    <a:pt x="206" y="103"/>
                  </a:cubicBezTo>
                  <a:lnTo>
                    <a:pt x="206" y="137"/>
                  </a:lnTo>
                  <a:close/>
                  <a:moveTo>
                    <a:pt x="206" y="77"/>
                  </a:moveTo>
                  <a:cubicBezTo>
                    <a:pt x="154" y="77"/>
                    <a:pt x="154" y="77"/>
                    <a:pt x="154" y="77"/>
                  </a:cubicBezTo>
                  <a:cubicBezTo>
                    <a:pt x="154" y="43"/>
                    <a:pt x="154" y="43"/>
                    <a:pt x="154" y="43"/>
                  </a:cubicBezTo>
                  <a:cubicBezTo>
                    <a:pt x="206" y="43"/>
                    <a:pt x="206" y="43"/>
                    <a:pt x="206" y="43"/>
                  </a:cubicBezTo>
                  <a:lnTo>
                    <a:pt x="206" y="77"/>
                  </a:lnTo>
                  <a:close/>
                </a:path>
              </a:pathLst>
            </a:custGeom>
            <a:solidFill>
              <a:schemeClr val="bg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400" b="0" i="0" u="none" strike="noStrike" kern="1200" cap="none" spc="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</a:endParaRPr>
            </a:p>
          </p:txBody>
        </p:sp>
      </p:grpSp>
      <p:grpSp>
        <p:nvGrpSpPr>
          <p:cNvPr id="15" name="Group 15">
            <a:extLst>
              <a:ext uri="{FF2B5EF4-FFF2-40B4-BE49-F238E27FC236}">
                <a16:creationId xmlns:a16="http://schemas.microsoft.com/office/drawing/2014/main" id="{CAE9C1AD-70AC-9A42-B606-C12A0A9CF0D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410652" y="4673807"/>
            <a:ext cx="1366464" cy="526216"/>
            <a:chOff x="2074" y="1305"/>
            <a:chExt cx="1610" cy="620"/>
          </a:xfrm>
          <a:solidFill>
            <a:schemeClr val="tx2"/>
          </a:solidFill>
        </p:grpSpPr>
        <p:sp>
          <p:nvSpPr>
            <p:cNvPr id="16" name="Freeform 16">
              <a:extLst>
                <a:ext uri="{FF2B5EF4-FFF2-40B4-BE49-F238E27FC236}">
                  <a16:creationId xmlns:a16="http://schemas.microsoft.com/office/drawing/2014/main" id="{532B6547-DB3C-874F-9A18-EDF0E6FD1D42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4" y="1305"/>
              <a:ext cx="780" cy="620"/>
            </a:xfrm>
            <a:custGeom>
              <a:avLst/>
              <a:gdLst>
                <a:gd name="T0" fmla="*/ 305 w 329"/>
                <a:gd name="T1" fmla="*/ 103 h 259"/>
                <a:gd name="T2" fmla="*/ 46 w 329"/>
                <a:gd name="T3" fmla="*/ 103 h 259"/>
                <a:gd name="T4" fmla="*/ 111 w 329"/>
                <a:gd name="T5" fmla="*/ 43 h 259"/>
                <a:gd name="T6" fmla="*/ 111 w 329"/>
                <a:gd name="T7" fmla="*/ 10 h 259"/>
                <a:gd name="T8" fmla="*/ 77 w 329"/>
                <a:gd name="T9" fmla="*/ 10 h 259"/>
                <a:gd name="T10" fmla="*/ 0 w 329"/>
                <a:gd name="T11" fmla="*/ 82 h 259"/>
                <a:gd name="T12" fmla="*/ 27 w 329"/>
                <a:gd name="T13" fmla="*/ 108 h 259"/>
                <a:gd name="T14" fmla="*/ 34 w 329"/>
                <a:gd name="T15" fmla="*/ 124 h 259"/>
                <a:gd name="T16" fmla="*/ 27 w 329"/>
                <a:gd name="T17" fmla="*/ 141 h 259"/>
                <a:gd name="T18" fmla="*/ 0 w 329"/>
                <a:gd name="T19" fmla="*/ 170 h 259"/>
                <a:gd name="T20" fmla="*/ 77 w 329"/>
                <a:gd name="T21" fmla="*/ 251 h 259"/>
                <a:gd name="T22" fmla="*/ 94 w 329"/>
                <a:gd name="T23" fmla="*/ 259 h 259"/>
                <a:gd name="T24" fmla="*/ 111 w 329"/>
                <a:gd name="T25" fmla="*/ 251 h 259"/>
                <a:gd name="T26" fmla="*/ 111 w 329"/>
                <a:gd name="T27" fmla="*/ 218 h 259"/>
                <a:gd name="T28" fmla="*/ 47 w 329"/>
                <a:gd name="T29" fmla="*/ 148 h 259"/>
                <a:gd name="T30" fmla="*/ 305 w 329"/>
                <a:gd name="T31" fmla="*/ 147 h 259"/>
                <a:gd name="T32" fmla="*/ 329 w 329"/>
                <a:gd name="T33" fmla="*/ 125 h 259"/>
                <a:gd name="T34" fmla="*/ 305 w 329"/>
                <a:gd name="T35" fmla="*/ 103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9" h="259">
                  <a:moveTo>
                    <a:pt x="305" y="103"/>
                  </a:moveTo>
                  <a:cubicBezTo>
                    <a:pt x="305" y="103"/>
                    <a:pt x="170" y="103"/>
                    <a:pt x="46" y="103"/>
                  </a:cubicBezTo>
                  <a:cubicBezTo>
                    <a:pt x="46" y="103"/>
                    <a:pt x="46" y="103"/>
                    <a:pt x="111" y="43"/>
                  </a:cubicBezTo>
                  <a:cubicBezTo>
                    <a:pt x="120" y="33"/>
                    <a:pt x="120" y="19"/>
                    <a:pt x="111" y="10"/>
                  </a:cubicBezTo>
                  <a:cubicBezTo>
                    <a:pt x="102" y="0"/>
                    <a:pt x="87" y="0"/>
                    <a:pt x="77" y="10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27" y="108"/>
                    <a:pt x="27" y="108"/>
                    <a:pt x="27" y="108"/>
                  </a:cubicBezTo>
                  <a:cubicBezTo>
                    <a:pt x="32" y="112"/>
                    <a:pt x="34" y="118"/>
                    <a:pt x="34" y="124"/>
                  </a:cubicBezTo>
                  <a:cubicBezTo>
                    <a:pt x="34" y="130"/>
                    <a:pt x="32" y="136"/>
                    <a:pt x="27" y="141"/>
                  </a:cubicBezTo>
                  <a:cubicBezTo>
                    <a:pt x="27" y="141"/>
                    <a:pt x="27" y="141"/>
                    <a:pt x="0" y="170"/>
                  </a:cubicBezTo>
                  <a:cubicBezTo>
                    <a:pt x="16" y="186"/>
                    <a:pt x="40" y="211"/>
                    <a:pt x="77" y="251"/>
                  </a:cubicBezTo>
                  <a:cubicBezTo>
                    <a:pt x="82" y="256"/>
                    <a:pt x="88" y="259"/>
                    <a:pt x="94" y="259"/>
                  </a:cubicBezTo>
                  <a:cubicBezTo>
                    <a:pt x="100" y="259"/>
                    <a:pt x="106" y="256"/>
                    <a:pt x="111" y="251"/>
                  </a:cubicBezTo>
                  <a:cubicBezTo>
                    <a:pt x="120" y="242"/>
                    <a:pt x="120" y="227"/>
                    <a:pt x="111" y="218"/>
                  </a:cubicBezTo>
                  <a:cubicBezTo>
                    <a:pt x="111" y="218"/>
                    <a:pt x="111" y="218"/>
                    <a:pt x="47" y="148"/>
                  </a:cubicBezTo>
                  <a:cubicBezTo>
                    <a:pt x="47" y="148"/>
                    <a:pt x="182" y="148"/>
                    <a:pt x="305" y="147"/>
                  </a:cubicBezTo>
                  <a:cubicBezTo>
                    <a:pt x="318" y="147"/>
                    <a:pt x="329" y="138"/>
                    <a:pt x="329" y="125"/>
                  </a:cubicBezTo>
                  <a:cubicBezTo>
                    <a:pt x="329" y="112"/>
                    <a:pt x="318" y="103"/>
                    <a:pt x="305" y="10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400" b="0" i="0" u="none" strike="noStrike" kern="1200" cap="none" spc="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17" name="Freeform 17">
              <a:extLst>
                <a:ext uri="{FF2B5EF4-FFF2-40B4-BE49-F238E27FC236}">
                  <a16:creationId xmlns:a16="http://schemas.microsoft.com/office/drawing/2014/main" id="{DD91139C-41D7-1841-8011-BA0E14C10E8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74" y="1305"/>
              <a:ext cx="861" cy="620"/>
            </a:xfrm>
            <a:custGeom>
              <a:avLst/>
              <a:gdLst>
                <a:gd name="T0" fmla="*/ 252 w 363"/>
                <a:gd name="T1" fmla="*/ 10 h 259"/>
                <a:gd name="T2" fmla="*/ 218 w 363"/>
                <a:gd name="T3" fmla="*/ 10 h 259"/>
                <a:gd name="T4" fmla="*/ 218 w 363"/>
                <a:gd name="T5" fmla="*/ 43 h 259"/>
                <a:gd name="T6" fmla="*/ 283 w 363"/>
                <a:gd name="T7" fmla="*/ 103 h 259"/>
                <a:gd name="T8" fmla="*/ 24 w 363"/>
                <a:gd name="T9" fmla="*/ 103 h 259"/>
                <a:gd name="T10" fmla="*/ 0 w 363"/>
                <a:gd name="T11" fmla="*/ 125 h 259"/>
                <a:gd name="T12" fmla="*/ 24 w 363"/>
                <a:gd name="T13" fmla="*/ 147 h 259"/>
                <a:gd name="T14" fmla="*/ 282 w 363"/>
                <a:gd name="T15" fmla="*/ 148 h 259"/>
                <a:gd name="T16" fmla="*/ 218 w 363"/>
                <a:gd name="T17" fmla="*/ 218 h 259"/>
                <a:gd name="T18" fmla="*/ 218 w 363"/>
                <a:gd name="T19" fmla="*/ 251 h 259"/>
                <a:gd name="T20" fmla="*/ 235 w 363"/>
                <a:gd name="T21" fmla="*/ 259 h 259"/>
                <a:gd name="T22" fmla="*/ 252 w 363"/>
                <a:gd name="T23" fmla="*/ 251 h 259"/>
                <a:gd name="T24" fmla="*/ 356 w 363"/>
                <a:gd name="T25" fmla="*/ 141 h 259"/>
                <a:gd name="T26" fmla="*/ 363 w 363"/>
                <a:gd name="T27" fmla="*/ 124 h 259"/>
                <a:gd name="T28" fmla="*/ 356 w 363"/>
                <a:gd name="T29" fmla="*/ 108 h 259"/>
                <a:gd name="T30" fmla="*/ 252 w 363"/>
                <a:gd name="T31" fmla="*/ 10 h 259"/>
                <a:gd name="T32" fmla="*/ 252 w 363"/>
                <a:gd name="T33" fmla="*/ 10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63" h="259">
                  <a:moveTo>
                    <a:pt x="252" y="10"/>
                  </a:moveTo>
                  <a:cubicBezTo>
                    <a:pt x="242" y="0"/>
                    <a:pt x="227" y="0"/>
                    <a:pt x="218" y="10"/>
                  </a:cubicBezTo>
                  <a:cubicBezTo>
                    <a:pt x="209" y="19"/>
                    <a:pt x="209" y="33"/>
                    <a:pt x="218" y="43"/>
                  </a:cubicBezTo>
                  <a:cubicBezTo>
                    <a:pt x="283" y="103"/>
                    <a:pt x="283" y="103"/>
                    <a:pt x="283" y="103"/>
                  </a:cubicBezTo>
                  <a:cubicBezTo>
                    <a:pt x="159" y="103"/>
                    <a:pt x="24" y="103"/>
                    <a:pt x="24" y="103"/>
                  </a:cubicBezTo>
                  <a:cubicBezTo>
                    <a:pt x="11" y="103"/>
                    <a:pt x="0" y="112"/>
                    <a:pt x="0" y="125"/>
                  </a:cubicBezTo>
                  <a:cubicBezTo>
                    <a:pt x="0" y="138"/>
                    <a:pt x="11" y="147"/>
                    <a:pt x="24" y="147"/>
                  </a:cubicBezTo>
                  <a:cubicBezTo>
                    <a:pt x="147" y="148"/>
                    <a:pt x="282" y="148"/>
                    <a:pt x="282" y="148"/>
                  </a:cubicBezTo>
                  <a:cubicBezTo>
                    <a:pt x="218" y="218"/>
                    <a:pt x="218" y="218"/>
                    <a:pt x="218" y="218"/>
                  </a:cubicBezTo>
                  <a:cubicBezTo>
                    <a:pt x="209" y="227"/>
                    <a:pt x="209" y="242"/>
                    <a:pt x="218" y="251"/>
                  </a:cubicBezTo>
                  <a:cubicBezTo>
                    <a:pt x="223" y="256"/>
                    <a:pt x="229" y="259"/>
                    <a:pt x="235" y="259"/>
                  </a:cubicBezTo>
                  <a:cubicBezTo>
                    <a:pt x="241" y="259"/>
                    <a:pt x="247" y="256"/>
                    <a:pt x="252" y="251"/>
                  </a:cubicBezTo>
                  <a:cubicBezTo>
                    <a:pt x="356" y="141"/>
                    <a:pt x="356" y="141"/>
                    <a:pt x="356" y="141"/>
                  </a:cubicBezTo>
                  <a:cubicBezTo>
                    <a:pt x="360" y="136"/>
                    <a:pt x="363" y="130"/>
                    <a:pt x="363" y="124"/>
                  </a:cubicBezTo>
                  <a:cubicBezTo>
                    <a:pt x="363" y="118"/>
                    <a:pt x="360" y="112"/>
                    <a:pt x="356" y="108"/>
                  </a:cubicBezTo>
                  <a:cubicBezTo>
                    <a:pt x="252" y="10"/>
                    <a:pt x="252" y="10"/>
                    <a:pt x="252" y="10"/>
                  </a:cubicBezTo>
                  <a:cubicBezTo>
                    <a:pt x="252" y="10"/>
                    <a:pt x="252" y="10"/>
                    <a:pt x="252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400" b="0" i="0" u="none" strike="noStrike" kern="1200" cap="none" spc="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</a:endParaRPr>
            </a:p>
          </p:txBody>
        </p:sp>
      </p:grpSp>
      <p:sp>
        <p:nvSpPr>
          <p:cNvPr id="18" name="Textfeld 9">
            <a:extLst>
              <a:ext uri="{FF2B5EF4-FFF2-40B4-BE49-F238E27FC236}">
                <a16:creationId xmlns:a16="http://schemas.microsoft.com/office/drawing/2014/main" id="{72445D05-08F6-8547-A07F-D58B49FDF55C}"/>
              </a:ext>
            </a:extLst>
          </p:cNvPr>
          <p:cNvSpPr txBox="1"/>
          <p:nvPr/>
        </p:nvSpPr>
        <p:spPr>
          <a:xfrm>
            <a:off x="1771888" y="3050133"/>
            <a:ext cx="1340432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CiscoSansTT ExtraLight"/>
                <a:ea typeface="Segoe UI" panose="020B0502040204020203" pitchFamily="34" charset="0"/>
                <a:cs typeface="Segoe UI" panose="020B0502040204020203" pitchFamily="34" charset="0"/>
              </a:rPr>
              <a:t>Message</a:t>
            </a:r>
          </a:p>
        </p:txBody>
      </p:sp>
      <p:sp>
        <p:nvSpPr>
          <p:cNvPr id="19" name="Textfeld 11">
            <a:extLst>
              <a:ext uri="{FF2B5EF4-FFF2-40B4-BE49-F238E27FC236}">
                <a16:creationId xmlns:a16="http://schemas.microsoft.com/office/drawing/2014/main" id="{80824F5A-6818-6C4F-95D0-CCE3BB9F150F}"/>
              </a:ext>
            </a:extLst>
          </p:cNvPr>
          <p:cNvSpPr txBox="1">
            <a:spLocks/>
          </p:cNvSpPr>
          <p:nvPr/>
        </p:nvSpPr>
        <p:spPr>
          <a:xfrm>
            <a:off x="5487837" y="3050133"/>
            <a:ext cx="1210589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CiscoSansTT ExtraLight"/>
                <a:ea typeface="Segoe UI" panose="020B0502040204020203" pitchFamily="34" charset="0"/>
                <a:cs typeface="Segoe UI" panose="020B0502040204020203" pitchFamily="34" charset="0"/>
              </a:rPr>
              <a:t>Meeting</a:t>
            </a:r>
          </a:p>
        </p:txBody>
      </p:sp>
      <p:sp>
        <p:nvSpPr>
          <p:cNvPr id="20" name="Textfeld 14">
            <a:extLst>
              <a:ext uri="{FF2B5EF4-FFF2-40B4-BE49-F238E27FC236}">
                <a16:creationId xmlns:a16="http://schemas.microsoft.com/office/drawing/2014/main" id="{842F2A94-13F3-394B-94FB-7509FC12730F}"/>
              </a:ext>
            </a:extLst>
          </p:cNvPr>
          <p:cNvSpPr txBox="1">
            <a:spLocks/>
          </p:cNvSpPr>
          <p:nvPr/>
        </p:nvSpPr>
        <p:spPr>
          <a:xfrm>
            <a:off x="7988300" y="3050133"/>
            <a:ext cx="35433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CiscoSansTT ExtraLight"/>
                <a:ea typeface="CiscoSans ExtraLight" charset="0"/>
                <a:cs typeface="Segoe UI"/>
              </a:rPr>
              <a:t>Call</a:t>
            </a: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srgbClr val="676767"/>
              </a:solidFill>
              <a:effectLst/>
              <a:uLnTx/>
              <a:uFillTx/>
              <a:latin typeface="CiscoSansTT ExtraLight"/>
              <a:ea typeface="Segoe UI" panose="020B0502040204020203" pitchFamily="34" charset="0"/>
              <a:cs typeface="Segoe UI"/>
            </a:endParaRPr>
          </a:p>
        </p:txBody>
      </p:sp>
      <p:grpSp>
        <p:nvGrpSpPr>
          <p:cNvPr id="21" name="Group 116">
            <a:extLst>
              <a:ext uri="{FF2B5EF4-FFF2-40B4-BE49-F238E27FC236}">
                <a16:creationId xmlns:a16="http://schemas.microsoft.com/office/drawing/2014/main" id="{123653F2-B119-2445-A81A-48B53A75CCAF}"/>
              </a:ext>
            </a:extLst>
          </p:cNvPr>
          <p:cNvGrpSpPr>
            <a:grpSpLocks noChangeAspect="1"/>
          </p:cNvGrpSpPr>
          <p:nvPr/>
        </p:nvGrpSpPr>
        <p:grpSpPr>
          <a:xfrm>
            <a:off x="2043688" y="2304658"/>
            <a:ext cx="720000" cy="720000"/>
            <a:chOff x="1248422" y="3184039"/>
            <a:chExt cx="550665" cy="550665"/>
          </a:xfrm>
          <a:solidFill>
            <a:schemeClr val="bg1"/>
          </a:solidFill>
        </p:grpSpPr>
        <p:sp>
          <p:nvSpPr>
            <p:cNvPr id="22" name="Rounded Rectangle 117">
              <a:extLst>
                <a:ext uri="{FF2B5EF4-FFF2-40B4-BE49-F238E27FC236}">
                  <a16:creationId xmlns:a16="http://schemas.microsoft.com/office/drawing/2014/main" id="{97108AA4-7BCD-8546-B94E-EB287665BA29}"/>
                </a:ext>
              </a:extLst>
            </p:cNvPr>
            <p:cNvSpPr/>
            <p:nvPr/>
          </p:nvSpPr>
          <p:spPr>
            <a:xfrm>
              <a:off x="1248422" y="3184039"/>
              <a:ext cx="550665" cy="550665"/>
            </a:xfrm>
            <a:prstGeom prst="roundRect">
              <a:avLst>
                <a:gd name="adj" fmla="val 8967"/>
              </a:avLst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19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400" b="0" i="0" u="none" strike="noStrike" kern="1200" cap="none" spc="0" normalizeH="0" baseline="0" noProof="0" dirty="0">
                <a:ln>
                  <a:noFill/>
                </a:ln>
                <a:solidFill>
                  <a:srgbClr val="335FFA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ＭＳ Ｐゴシック" charset="0"/>
              </a:endParaRPr>
            </a:p>
          </p:txBody>
        </p:sp>
        <p:grpSp>
          <p:nvGrpSpPr>
            <p:cNvPr id="23" name="Group 118">
              <a:extLst>
                <a:ext uri="{FF2B5EF4-FFF2-40B4-BE49-F238E27FC236}">
                  <a16:creationId xmlns:a16="http://schemas.microsoft.com/office/drawing/2014/main" id="{B20234A5-F9F2-0C49-A590-EFF630E0956B}"/>
                </a:ext>
              </a:extLst>
            </p:cNvPr>
            <p:cNvGrpSpPr/>
            <p:nvPr/>
          </p:nvGrpSpPr>
          <p:grpSpPr>
            <a:xfrm>
              <a:off x="1306412" y="3275558"/>
              <a:ext cx="410591" cy="362550"/>
              <a:chOff x="1672986" y="3346036"/>
              <a:chExt cx="731520" cy="645929"/>
            </a:xfrm>
            <a:grpFill/>
            <a:effectLst/>
          </p:grpSpPr>
          <p:sp>
            <p:nvSpPr>
              <p:cNvPr id="24" name="Freeform 6">
                <a:extLst>
                  <a:ext uri="{FF2B5EF4-FFF2-40B4-BE49-F238E27FC236}">
                    <a16:creationId xmlns:a16="http://schemas.microsoft.com/office/drawing/2014/main" id="{59D74C87-A612-E14B-B902-5B1870C697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81969" y="3346036"/>
                <a:ext cx="146076" cy="192866"/>
              </a:xfrm>
              <a:custGeom>
                <a:avLst/>
                <a:gdLst>
                  <a:gd name="T0" fmla="*/ 384 w 768"/>
                  <a:gd name="T1" fmla="*/ 0 h 1016"/>
                  <a:gd name="T2" fmla="*/ 431 w 768"/>
                  <a:gd name="T3" fmla="*/ 4 h 1016"/>
                  <a:gd name="T4" fmla="*/ 475 w 768"/>
                  <a:gd name="T5" fmla="*/ 12 h 1016"/>
                  <a:gd name="T6" fmla="*/ 517 w 768"/>
                  <a:gd name="T7" fmla="*/ 27 h 1016"/>
                  <a:gd name="T8" fmla="*/ 557 w 768"/>
                  <a:gd name="T9" fmla="*/ 47 h 1016"/>
                  <a:gd name="T10" fmla="*/ 594 w 768"/>
                  <a:gd name="T11" fmla="*/ 70 h 1016"/>
                  <a:gd name="T12" fmla="*/ 628 w 768"/>
                  <a:gd name="T13" fmla="*/ 99 h 1016"/>
                  <a:gd name="T14" fmla="*/ 659 w 768"/>
                  <a:gd name="T15" fmla="*/ 132 h 1016"/>
                  <a:gd name="T16" fmla="*/ 687 w 768"/>
                  <a:gd name="T17" fmla="*/ 168 h 1016"/>
                  <a:gd name="T18" fmla="*/ 711 w 768"/>
                  <a:gd name="T19" fmla="*/ 207 h 1016"/>
                  <a:gd name="T20" fmla="*/ 733 w 768"/>
                  <a:gd name="T21" fmla="*/ 255 h 1016"/>
                  <a:gd name="T22" fmla="*/ 750 w 768"/>
                  <a:gd name="T23" fmla="*/ 304 h 1016"/>
                  <a:gd name="T24" fmla="*/ 761 w 768"/>
                  <a:gd name="T25" fmla="*/ 354 h 1016"/>
                  <a:gd name="T26" fmla="*/ 768 w 768"/>
                  <a:gd name="T27" fmla="*/ 407 h 1016"/>
                  <a:gd name="T28" fmla="*/ 768 w 768"/>
                  <a:gd name="T29" fmla="*/ 459 h 1016"/>
                  <a:gd name="T30" fmla="*/ 764 w 768"/>
                  <a:gd name="T31" fmla="*/ 512 h 1016"/>
                  <a:gd name="T32" fmla="*/ 752 w 768"/>
                  <a:gd name="T33" fmla="*/ 563 h 1016"/>
                  <a:gd name="T34" fmla="*/ 694 w 768"/>
                  <a:gd name="T35" fmla="*/ 788 h 1016"/>
                  <a:gd name="T36" fmla="*/ 680 w 768"/>
                  <a:gd name="T37" fmla="*/ 828 h 1016"/>
                  <a:gd name="T38" fmla="*/ 661 w 768"/>
                  <a:gd name="T39" fmla="*/ 864 h 1016"/>
                  <a:gd name="T40" fmla="*/ 636 w 768"/>
                  <a:gd name="T41" fmla="*/ 898 h 1016"/>
                  <a:gd name="T42" fmla="*/ 608 w 768"/>
                  <a:gd name="T43" fmla="*/ 927 h 1016"/>
                  <a:gd name="T44" fmla="*/ 577 w 768"/>
                  <a:gd name="T45" fmla="*/ 954 h 1016"/>
                  <a:gd name="T46" fmla="*/ 542 w 768"/>
                  <a:gd name="T47" fmla="*/ 975 h 1016"/>
                  <a:gd name="T48" fmla="*/ 504 w 768"/>
                  <a:gd name="T49" fmla="*/ 993 h 1016"/>
                  <a:gd name="T50" fmla="*/ 466 w 768"/>
                  <a:gd name="T51" fmla="*/ 1006 h 1016"/>
                  <a:gd name="T52" fmla="*/ 425 w 768"/>
                  <a:gd name="T53" fmla="*/ 1014 h 1016"/>
                  <a:gd name="T54" fmla="*/ 384 w 768"/>
                  <a:gd name="T55" fmla="*/ 1016 h 1016"/>
                  <a:gd name="T56" fmla="*/ 343 w 768"/>
                  <a:gd name="T57" fmla="*/ 1014 h 1016"/>
                  <a:gd name="T58" fmla="*/ 303 w 768"/>
                  <a:gd name="T59" fmla="*/ 1006 h 1016"/>
                  <a:gd name="T60" fmla="*/ 264 w 768"/>
                  <a:gd name="T61" fmla="*/ 993 h 1016"/>
                  <a:gd name="T62" fmla="*/ 227 w 768"/>
                  <a:gd name="T63" fmla="*/ 975 h 1016"/>
                  <a:gd name="T64" fmla="*/ 192 w 768"/>
                  <a:gd name="T65" fmla="*/ 954 h 1016"/>
                  <a:gd name="T66" fmla="*/ 160 w 768"/>
                  <a:gd name="T67" fmla="*/ 927 h 1016"/>
                  <a:gd name="T68" fmla="*/ 132 w 768"/>
                  <a:gd name="T69" fmla="*/ 898 h 1016"/>
                  <a:gd name="T70" fmla="*/ 108 w 768"/>
                  <a:gd name="T71" fmla="*/ 864 h 1016"/>
                  <a:gd name="T72" fmla="*/ 89 w 768"/>
                  <a:gd name="T73" fmla="*/ 828 h 1016"/>
                  <a:gd name="T74" fmla="*/ 75 w 768"/>
                  <a:gd name="T75" fmla="*/ 788 h 1016"/>
                  <a:gd name="T76" fmla="*/ 15 w 768"/>
                  <a:gd name="T77" fmla="*/ 563 h 1016"/>
                  <a:gd name="T78" fmla="*/ 5 w 768"/>
                  <a:gd name="T79" fmla="*/ 512 h 1016"/>
                  <a:gd name="T80" fmla="*/ 0 w 768"/>
                  <a:gd name="T81" fmla="*/ 459 h 1016"/>
                  <a:gd name="T82" fmla="*/ 0 w 768"/>
                  <a:gd name="T83" fmla="*/ 407 h 1016"/>
                  <a:gd name="T84" fmla="*/ 6 w 768"/>
                  <a:gd name="T85" fmla="*/ 354 h 1016"/>
                  <a:gd name="T86" fmla="*/ 18 w 768"/>
                  <a:gd name="T87" fmla="*/ 304 h 1016"/>
                  <a:gd name="T88" fmla="*/ 35 w 768"/>
                  <a:gd name="T89" fmla="*/ 255 h 1016"/>
                  <a:gd name="T90" fmla="*/ 57 w 768"/>
                  <a:gd name="T91" fmla="*/ 207 h 1016"/>
                  <a:gd name="T92" fmla="*/ 82 w 768"/>
                  <a:gd name="T93" fmla="*/ 168 h 1016"/>
                  <a:gd name="T94" fmla="*/ 110 w 768"/>
                  <a:gd name="T95" fmla="*/ 132 h 1016"/>
                  <a:gd name="T96" fmla="*/ 140 w 768"/>
                  <a:gd name="T97" fmla="*/ 99 h 1016"/>
                  <a:gd name="T98" fmla="*/ 174 w 768"/>
                  <a:gd name="T99" fmla="*/ 70 h 1016"/>
                  <a:gd name="T100" fmla="*/ 211 w 768"/>
                  <a:gd name="T101" fmla="*/ 47 h 1016"/>
                  <a:gd name="T102" fmla="*/ 251 w 768"/>
                  <a:gd name="T103" fmla="*/ 27 h 1016"/>
                  <a:gd name="T104" fmla="*/ 293 w 768"/>
                  <a:gd name="T105" fmla="*/ 12 h 1016"/>
                  <a:gd name="T106" fmla="*/ 338 w 768"/>
                  <a:gd name="T107" fmla="*/ 4 h 1016"/>
                  <a:gd name="T108" fmla="*/ 384 w 768"/>
                  <a:gd name="T109" fmla="*/ 0 h 10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768" h="1016">
                    <a:moveTo>
                      <a:pt x="384" y="0"/>
                    </a:moveTo>
                    <a:lnTo>
                      <a:pt x="431" y="4"/>
                    </a:lnTo>
                    <a:lnTo>
                      <a:pt x="475" y="12"/>
                    </a:lnTo>
                    <a:lnTo>
                      <a:pt x="517" y="27"/>
                    </a:lnTo>
                    <a:lnTo>
                      <a:pt x="557" y="47"/>
                    </a:lnTo>
                    <a:lnTo>
                      <a:pt x="594" y="70"/>
                    </a:lnTo>
                    <a:lnTo>
                      <a:pt x="628" y="99"/>
                    </a:lnTo>
                    <a:lnTo>
                      <a:pt x="659" y="132"/>
                    </a:lnTo>
                    <a:lnTo>
                      <a:pt x="687" y="168"/>
                    </a:lnTo>
                    <a:lnTo>
                      <a:pt x="711" y="207"/>
                    </a:lnTo>
                    <a:lnTo>
                      <a:pt x="733" y="255"/>
                    </a:lnTo>
                    <a:lnTo>
                      <a:pt x="750" y="304"/>
                    </a:lnTo>
                    <a:lnTo>
                      <a:pt x="761" y="354"/>
                    </a:lnTo>
                    <a:lnTo>
                      <a:pt x="768" y="407"/>
                    </a:lnTo>
                    <a:lnTo>
                      <a:pt x="768" y="459"/>
                    </a:lnTo>
                    <a:lnTo>
                      <a:pt x="764" y="512"/>
                    </a:lnTo>
                    <a:lnTo>
                      <a:pt x="752" y="563"/>
                    </a:lnTo>
                    <a:lnTo>
                      <a:pt x="694" y="788"/>
                    </a:lnTo>
                    <a:lnTo>
                      <a:pt x="680" y="828"/>
                    </a:lnTo>
                    <a:lnTo>
                      <a:pt x="661" y="864"/>
                    </a:lnTo>
                    <a:lnTo>
                      <a:pt x="636" y="898"/>
                    </a:lnTo>
                    <a:lnTo>
                      <a:pt x="608" y="927"/>
                    </a:lnTo>
                    <a:lnTo>
                      <a:pt x="577" y="954"/>
                    </a:lnTo>
                    <a:lnTo>
                      <a:pt x="542" y="975"/>
                    </a:lnTo>
                    <a:lnTo>
                      <a:pt x="504" y="993"/>
                    </a:lnTo>
                    <a:lnTo>
                      <a:pt x="466" y="1006"/>
                    </a:lnTo>
                    <a:lnTo>
                      <a:pt x="425" y="1014"/>
                    </a:lnTo>
                    <a:lnTo>
                      <a:pt x="384" y="1016"/>
                    </a:lnTo>
                    <a:lnTo>
                      <a:pt x="343" y="1014"/>
                    </a:lnTo>
                    <a:lnTo>
                      <a:pt x="303" y="1006"/>
                    </a:lnTo>
                    <a:lnTo>
                      <a:pt x="264" y="993"/>
                    </a:lnTo>
                    <a:lnTo>
                      <a:pt x="227" y="975"/>
                    </a:lnTo>
                    <a:lnTo>
                      <a:pt x="192" y="954"/>
                    </a:lnTo>
                    <a:lnTo>
                      <a:pt x="160" y="927"/>
                    </a:lnTo>
                    <a:lnTo>
                      <a:pt x="132" y="898"/>
                    </a:lnTo>
                    <a:lnTo>
                      <a:pt x="108" y="864"/>
                    </a:lnTo>
                    <a:lnTo>
                      <a:pt x="89" y="828"/>
                    </a:lnTo>
                    <a:lnTo>
                      <a:pt x="75" y="788"/>
                    </a:lnTo>
                    <a:lnTo>
                      <a:pt x="15" y="563"/>
                    </a:lnTo>
                    <a:lnTo>
                      <a:pt x="5" y="512"/>
                    </a:lnTo>
                    <a:lnTo>
                      <a:pt x="0" y="459"/>
                    </a:lnTo>
                    <a:lnTo>
                      <a:pt x="0" y="407"/>
                    </a:lnTo>
                    <a:lnTo>
                      <a:pt x="6" y="354"/>
                    </a:lnTo>
                    <a:lnTo>
                      <a:pt x="18" y="304"/>
                    </a:lnTo>
                    <a:lnTo>
                      <a:pt x="35" y="255"/>
                    </a:lnTo>
                    <a:lnTo>
                      <a:pt x="57" y="207"/>
                    </a:lnTo>
                    <a:lnTo>
                      <a:pt x="82" y="168"/>
                    </a:lnTo>
                    <a:lnTo>
                      <a:pt x="110" y="132"/>
                    </a:lnTo>
                    <a:lnTo>
                      <a:pt x="140" y="99"/>
                    </a:lnTo>
                    <a:lnTo>
                      <a:pt x="174" y="70"/>
                    </a:lnTo>
                    <a:lnTo>
                      <a:pt x="211" y="47"/>
                    </a:lnTo>
                    <a:lnTo>
                      <a:pt x="251" y="27"/>
                    </a:lnTo>
                    <a:lnTo>
                      <a:pt x="293" y="12"/>
                    </a:lnTo>
                    <a:lnTo>
                      <a:pt x="338" y="4"/>
                    </a:lnTo>
                    <a:lnTo>
                      <a:pt x="38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5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400" b="0" i="0" u="none" strike="noStrike" kern="1200" cap="none" spc="0" normalizeH="0" baseline="0" noProof="0" dirty="0">
                  <a:ln>
                    <a:noFill/>
                  </a:ln>
                  <a:solidFill>
                    <a:srgbClr val="676767"/>
                  </a:solidFill>
                  <a:effectLst/>
                  <a:uLnTx/>
                  <a:uFillTx/>
                  <a:latin typeface="CiscoSansTT ExtraLight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25" name="Freeform 7">
                <a:extLst>
                  <a:ext uri="{FF2B5EF4-FFF2-40B4-BE49-F238E27FC236}">
                    <a16:creationId xmlns:a16="http://schemas.microsoft.com/office/drawing/2014/main" id="{40223910-916C-E24D-A477-7681A0643D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8577" y="3455593"/>
                <a:ext cx="146076" cy="194007"/>
              </a:xfrm>
              <a:custGeom>
                <a:avLst/>
                <a:gdLst>
                  <a:gd name="T0" fmla="*/ 384 w 768"/>
                  <a:gd name="T1" fmla="*/ 0 h 1018"/>
                  <a:gd name="T2" fmla="*/ 431 w 768"/>
                  <a:gd name="T3" fmla="*/ 4 h 1018"/>
                  <a:gd name="T4" fmla="*/ 475 w 768"/>
                  <a:gd name="T5" fmla="*/ 13 h 1018"/>
                  <a:gd name="T6" fmla="*/ 517 w 768"/>
                  <a:gd name="T7" fmla="*/ 27 h 1018"/>
                  <a:gd name="T8" fmla="*/ 557 w 768"/>
                  <a:gd name="T9" fmla="*/ 47 h 1018"/>
                  <a:gd name="T10" fmla="*/ 594 w 768"/>
                  <a:gd name="T11" fmla="*/ 72 h 1018"/>
                  <a:gd name="T12" fmla="*/ 628 w 768"/>
                  <a:gd name="T13" fmla="*/ 100 h 1018"/>
                  <a:gd name="T14" fmla="*/ 659 w 768"/>
                  <a:gd name="T15" fmla="*/ 132 h 1018"/>
                  <a:gd name="T16" fmla="*/ 686 w 768"/>
                  <a:gd name="T17" fmla="*/ 169 h 1018"/>
                  <a:gd name="T18" fmla="*/ 711 w 768"/>
                  <a:gd name="T19" fmla="*/ 207 h 1018"/>
                  <a:gd name="T20" fmla="*/ 733 w 768"/>
                  <a:gd name="T21" fmla="*/ 255 h 1018"/>
                  <a:gd name="T22" fmla="*/ 750 w 768"/>
                  <a:gd name="T23" fmla="*/ 304 h 1018"/>
                  <a:gd name="T24" fmla="*/ 762 w 768"/>
                  <a:gd name="T25" fmla="*/ 355 h 1018"/>
                  <a:gd name="T26" fmla="*/ 768 w 768"/>
                  <a:gd name="T27" fmla="*/ 407 h 1018"/>
                  <a:gd name="T28" fmla="*/ 768 w 768"/>
                  <a:gd name="T29" fmla="*/ 459 h 1018"/>
                  <a:gd name="T30" fmla="*/ 763 w 768"/>
                  <a:gd name="T31" fmla="*/ 512 h 1018"/>
                  <a:gd name="T32" fmla="*/ 753 w 768"/>
                  <a:gd name="T33" fmla="*/ 563 h 1018"/>
                  <a:gd name="T34" fmla="*/ 693 w 768"/>
                  <a:gd name="T35" fmla="*/ 789 h 1018"/>
                  <a:gd name="T36" fmla="*/ 679 w 768"/>
                  <a:gd name="T37" fmla="*/ 829 h 1018"/>
                  <a:gd name="T38" fmla="*/ 661 w 768"/>
                  <a:gd name="T39" fmla="*/ 866 h 1018"/>
                  <a:gd name="T40" fmla="*/ 637 w 768"/>
                  <a:gd name="T41" fmla="*/ 899 h 1018"/>
                  <a:gd name="T42" fmla="*/ 608 w 768"/>
                  <a:gd name="T43" fmla="*/ 929 h 1018"/>
                  <a:gd name="T44" fmla="*/ 577 w 768"/>
                  <a:gd name="T45" fmla="*/ 955 h 1018"/>
                  <a:gd name="T46" fmla="*/ 543 w 768"/>
                  <a:gd name="T47" fmla="*/ 977 h 1018"/>
                  <a:gd name="T48" fmla="*/ 505 w 768"/>
                  <a:gd name="T49" fmla="*/ 994 h 1018"/>
                  <a:gd name="T50" fmla="*/ 466 w 768"/>
                  <a:gd name="T51" fmla="*/ 1007 h 1018"/>
                  <a:gd name="T52" fmla="*/ 426 w 768"/>
                  <a:gd name="T53" fmla="*/ 1014 h 1018"/>
                  <a:gd name="T54" fmla="*/ 384 w 768"/>
                  <a:gd name="T55" fmla="*/ 1018 h 1018"/>
                  <a:gd name="T56" fmla="*/ 343 w 768"/>
                  <a:gd name="T57" fmla="*/ 1014 h 1018"/>
                  <a:gd name="T58" fmla="*/ 302 w 768"/>
                  <a:gd name="T59" fmla="*/ 1007 h 1018"/>
                  <a:gd name="T60" fmla="*/ 264 w 768"/>
                  <a:gd name="T61" fmla="*/ 994 h 1018"/>
                  <a:gd name="T62" fmla="*/ 226 w 768"/>
                  <a:gd name="T63" fmla="*/ 977 h 1018"/>
                  <a:gd name="T64" fmla="*/ 191 w 768"/>
                  <a:gd name="T65" fmla="*/ 955 h 1018"/>
                  <a:gd name="T66" fmla="*/ 160 w 768"/>
                  <a:gd name="T67" fmla="*/ 929 h 1018"/>
                  <a:gd name="T68" fmla="*/ 132 w 768"/>
                  <a:gd name="T69" fmla="*/ 899 h 1018"/>
                  <a:gd name="T70" fmla="*/ 107 w 768"/>
                  <a:gd name="T71" fmla="*/ 866 h 1018"/>
                  <a:gd name="T72" fmla="*/ 89 w 768"/>
                  <a:gd name="T73" fmla="*/ 829 h 1018"/>
                  <a:gd name="T74" fmla="*/ 75 w 768"/>
                  <a:gd name="T75" fmla="*/ 789 h 1018"/>
                  <a:gd name="T76" fmla="*/ 16 w 768"/>
                  <a:gd name="T77" fmla="*/ 563 h 1018"/>
                  <a:gd name="T78" fmla="*/ 6 w 768"/>
                  <a:gd name="T79" fmla="*/ 512 h 1018"/>
                  <a:gd name="T80" fmla="*/ 0 w 768"/>
                  <a:gd name="T81" fmla="*/ 459 h 1018"/>
                  <a:gd name="T82" fmla="*/ 1 w 768"/>
                  <a:gd name="T83" fmla="*/ 407 h 1018"/>
                  <a:gd name="T84" fmla="*/ 7 w 768"/>
                  <a:gd name="T85" fmla="*/ 355 h 1018"/>
                  <a:gd name="T86" fmla="*/ 19 w 768"/>
                  <a:gd name="T87" fmla="*/ 304 h 1018"/>
                  <a:gd name="T88" fmla="*/ 35 w 768"/>
                  <a:gd name="T89" fmla="*/ 255 h 1018"/>
                  <a:gd name="T90" fmla="*/ 57 w 768"/>
                  <a:gd name="T91" fmla="*/ 207 h 1018"/>
                  <a:gd name="T92" fmla="*/ 82 w 768"/>
                  <a:gd name="T93" fmla="*/ 169 h 1018"/>
                  <a:gd name="T94" fmla="*/ 110 w 768"/>
                  <a:gd name="T95" fmla="*/ 132 h 1018"/>
                  <a:gd name="T96" fmla="*/ 140 w 768"/>
                  <a:gd name="T97" fmla="*/ 100 h 1018"/>
                  <a:gd name="T98" fmla="*/ 174 w 768"/>
                  <a:gd name="T99" fmla="*/ 72 h 1018"/>
                  <a:gd name="T100" fmla="*/ 211 w 768"/>
                  <a:gd name="T101" fmla="*/ 47 h 1018"/>
                  <a:gd name="T102" fmla="*/ 251 w 768"/>
                  <a:gd name="T103" fmla="*/ 27 h 1018"/>
                  <a:gd name="T104" fmla="*/ 293 w 768"/>
                  <a:gd name="T105" fmla="*/ 13 h 1018"/>
                  <a:gd name="T106" fmla="*/ 338 w 768"/>
                  <a:gd name="T107" fmla="*/ 4 h 1018"/>
                  <a:gd name="T108" fmla="*/ 384 w 768"/>
                  <a:gd name="T109" fmla="*/ 0 h 10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768" h="1018">
                    <a:moveTo>
                      <a:pt x="384" y="0"/>
                    </a:moveTo>
                    <a:lnTo>
                      <a:pt x="431" y="4"/>
                    </a:lnTo>
                    <a:lnTo>
                      <a:pt x="475" y="13"/>
                    </a:lnTo>
                    <a:lnTo>
                      <a:pt x="517" y="27"/>
                    </a:lnTo>
                    <a:lnTo>
                      <a:pt x="557" y="47"/>
                    </a:lnTo>
                    <a:lnTo>
                      <a:pt x="594" y="72"/>
                    </a:lnTo>
                    <a:lnTo>
                      <a:pt x="628" y="100"/>
                    </a:lnTo>
                    <a:lnTo>
                      <a:pt x="659" y="132"/>
                    </a:lnTo>
                    <a:lnTo>
                      <a:pt x="686" y="169"/>
                    </a:lnTo>
                    <a:lnTo>
                      <a:pt x="711" y="207"/>
                    </a:lnTo>
                    <a:lnTo>
                      <a:pt x="733" y="255"/>
                    </a:lnTo>
                    <a:lnTo>
                      <a:pt x="750" y="304"/>
                    </a:lnTo>
                    <a:lnTo>
                      <a:pt x="762" y="355"/>
                    </a:lnTo>
                    <a:lnTo>
                      <a:pt x="768" y="407"/>
                    </a:lnTo>
                    <a:lnTo>
                      <a:pt x="768" y="459"/>
                    </a:lnTo>
                    <a:lnTo>
                      <a:pt x="763" y="512"/>
                    </a:lnTo>
                    <a:lnTo>
                      <a:pt x="753" y="563"/>
                    </a:lnTo>
                    <a:lnTo>
                      <a:pt x="693" y="789"/>
                    </a:lnTo>
                    <a:lnTo>
                      <a:pt x="679" y="829"/>
                    </a:lnTo>
                    <a:lnTo>
                      <a:pt x="661" y="866"/>
                    </a:lnTo>
                    <a:lnTo>
                      <a:pt x="637" y="899"/>
                    </a:lnTo>
                    <a:lnTo>
                      <a:pt x="608" y="929"/>
                    </a:lnTo>
                    <a:lnTo>
                      <a:pt x="577" y="955"/>
                    </a:lnTo>
                    <a:lnTo>
                      <a:pt x="543" y="977"/>
                    </a:lnTo>
                    <a:lnTo>
                      <a:pt x="505" y="994"/>
                    </a:lnTo>
                    <a:lnTo>
                      <a:pt x="466" y="1007"/>
                    </a:lnTo>
                    <a:lnTo>
                      <a:pt x="426" y="1014"/>
                    </a:lnTo>
                    <a:lnTo>
                      <a:pt x="384" y="1018"/>
                    </a:lnTo>
                    <a:lnTo>
                      <a:pt x="343" y="1014"/>
                    </a:lnTo>
                    <a:lnTo>
                      <a:pt x="302" y="1007"/>
                    </a:lnTo>
                    <a:lnTo>
                      <a:pt x="264" y="994"/>
                    </a:lnTo>
                    <a:lnTo>
                      <a:pt x="226" y="977"/>
                    </a:lnTo>
                    <a:lnTo>
                      <a:pt x="191" y="955"/>
                    </a:lnTo>
                    <a:lnTo>
                      <a:pt x="160" y="929"/>
                    </a:lnTo>
                    <a:lnTo>
                      <a:pt x="132" y="899"/>
                    </a:lnTo>
                    <a:lnTo>
                      <a:pt x="107" y="866"/>
                    </a:lnTo>
                    <a:lnTo>
                      <a:pt x="89" y="829"/>
                    </a:lnTo>
                    <a:lnTo>
                      <a:pt x="75" y="789"/>
                    </a:lnTo>
                    <a:lnTo>
                      <a:pt x="16" y="563"/>
                    </a:lnTo>
                    <a:lnTo>
                      <a:pt x="6" y="512"/>
                    </a:lnTo>
                    <a:lnTo>
                      <a:pt x="0" y="459"/>
                    </a:lnTo>
                    <a:lnTo>
                      <a:pt x="1" y="407"/>
                    </a:lnTo>
                    <a:lnTo>
                      <a:pt x="7" y="355"/>
                    </a:lnTo>
                    <a:lnTo>
                      <a:pt x="19" y="304"/>
                    </a:lnTo>
                    <a:lnTo>
                      <a:pt x="35" y="255"/>
                    </a:lnTo>
                    <a:lnTo>
                      <a:pt x="57" y="207"/>
                    </a:lnTo>
                    <a:lnTo>
                      <a:pt x="82" y="169"/>
                    </a:lnTo>
                    <a:lnTo>
                      <a:pt x="110" y="132"/>
                    </a:lnTo>
                    <a:lnTo>
                      <a:pt x="140" y="100"/>
                    </a:lnTo>
                    <a:lnTo>
                      <a:pt x="174" y="72"/>
                    </a:lnTo>
                    <a:lnTo>
                      <a:pt x="211" y="47"/>
                    </a:lnTo>
                    <a:lnTo>
                      <a:pt x="251" y="27"/>
                    </a:lnTo>
                    <a:lnTo>
                      <a:pt x="293" y="13"/>
                    </a:lnTo>
                    <a:lnTo>
                      <a:pt x="338" y="4"/>
                    </a:lnTo>
                    <a:lnTo>
                      <a:pt x="38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5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400" b="0" i="0" u="none" strike="noStrike" kern="1200" cap="none" spc="0" normalizeH="0" baseline="0" noProof="0" dirty="0">
                  <a:ln>
                    <a:noFill/>
                  </a:ln>
                  <a:solidFill>
                    <a:srgbClr val="676767"/>
                  </a:solidFill>
                  <a:effectLst/>
                  <a:uLnTx/>
                  <a:uFillTx/>
                  <a:latin typeface="CiscoSansTT ExtraLight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26" name="Freeform 8">
                <a:extLst>
                  <a:ext uri="{FF2B5EF4-FFF2-40B4-BE49-F238E27FC236}">
                    <a16:creationId xmlns:a16="http://schemas.microsoft.com/office/drawing/2014/main" id="{736138C7-9528-4641-8905-90601D0D75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84538" y="3506948"/>
                <a:ext cx="172324" cy="228243"/>
              </a:xfrm>
              <a:custGeom>
                <a:avLst/>
                <a:gdLst>
                  <a:gd name="T0" fmla="*/ 453 w 906"/>
                  <a:gd name="T1" fmla="*/ 0 h 1198"/>
                  <a:gd name="T2" fmla="*/ 502 w 906"/>
                  <a:gd name="T3" fmla="*/ 3 h 1198"/>
                  <a:gd name="T4" fmla="*/ 550 w 906"/>
                  <a:gd name="T5" fmla="*/ 11 h 1198"/>
                  <a:gd name="T6" fmla="*/ 595 w 906"/>
                  <a:gd name="T7" fmla="*/ 25 h 1198"/>
                  <a:gd name="T8" fmla="*/ 638 w 906"/>
                  <a:gd name="T9" fmla="*/ 44 h 1198"/>
                  <a:gd name="T10" fmla="*/ 678 w 906"/>
                  <a:gd name="T11" fmla="*/ 67 h 1198"/>
                  <a:gd name="T12" fmla="*/ 717 w 906"/>
                  <a:gd name="T13" fmla="*/ 95 h 1198"/>
                  <a:gd name="T14" fmla="*/ 752 w 906"/>
                  <a:gd name="T15" fmla="*/ 128 h 1198"/>
                  <a:gd name="T16" fmla="*/ 783 w 906"/>
                  <a:gd name="T17" fmla="*/ 163 h 1198"/>
                  <a:gd name="T18" fmla="*/ 812 w 906"/>
                  <a:gd name="T19" fmla="*/ 202 h 1198"/>
                  <a:gd name="T20" fmla="*/ 838 w 906"/>
                  <a:gd name="T21" fmla="*/ 244 h 1198"/>
                  <a:gd name="T22" fmla="*/ 861 w 906"/>
                  <a:gd name="T23" fmla="*/ 292 h 1198"/>
                  <a:gd name="T24" fmla="*/ 880 w 906"/>
                  <a:gd name="T25" fmla="*/ 343 h 1198"/>
                  <a:gd name="T26" fmla="*/ 893 w 906"/>
                  <a:gd name="T27" fmla="*/ 394 h 1198"/>
                  <a:gd name="T28" fmla="*/ 902 w 906"/>
                  <a:gd name="T29" fmla="*/ 448 h 1198"/>
                  <a:gd name="T30" fmla="*/ 906 w 906"/>
                  <a:gd name="T31" fmla="*/ 502 h 1198"/>
                  <a:gd name="T32" fmla="*/ 904 w 906"/>
                  <a:gd name="T33" fmla="*/ 556 h 1198"/>
                  <a:gd name="T34" fmla="*/ 899 w 906"/>
                  <a:gd name="T35" fmla="*/ 610 h 1198"/>
                  <a:gd name="T36" fmla="*/ 887 w 906"/>
                  <a:gd name="T37" fmla="*/ 664 h 1198"/>
                  <a:gd name="T38" fmla="*/ 817 w 906"/>
                  <a:gd name="T39" fmla="*/ 928 h 1198"/>
                  <a:gd name="T40" fmla="*/ 803 w 906"/>
                  <a:gd name="T41" fmla="*/ 971 h 1198"/>
                  <a:gd name="T42" fmla="*/ 783 w 906"/>
                  <a:gd name="T43" fmla="*/ 1012 h 1198"/>
                  <a:gd name="T44" fmla="*/ 759 w 906"/>
                  <a:gd name="T45" fmla="*/ 1048 h 1198"/>
                  <a:gd name="T46" fmla="*/ 729 w 906"/>
                  <a:gd name="T47" fmla="*/ 1081 h 1198"/>
                  <a:gd name="T48" fmla="*/ 697 w 906"/>
                  <a:gd name="T49" fmla="*/ 1111 h 1198"/>
                  <a:gd name="T50" fmla="*/ 662 w 906"/>
                  <a:gd name="T51" fmla="*/ 1137 h 1198"/>
                  <a:gd name="T52" fmla="*/ 623 w 906"/>
                  <a:gd name="T53" fmla="*/ 1158 h 1198"/>
                  <a:gd name="T54" fmla="*/ 582 w 906"/>
                  <a:gd name="T55" fmla="*/ 1176 h 1198"/>
                  <a:gd name="T56" fmla="*/ 540 w 906"/>
                  <a:gd name="T57" fmla="*/ 1187 h 1198"/>
                  <a:gd name="T58" fmla="*/ 497 w 906"/>
                  <a:gd name="T59" fmla="*/ 1196 h 1198"/>
                  <a:gd name="T60" fmla="*/ 453 w 906"/>
                  <a:gd name="T61" fmla="*/ 1198 h 1198"/>
                  <a:gd name="T62" fmla="*/ 408 w 906"/>
                  <a:gd name="T63" fmla="*/ 1196 h 1198"/>
                  <a:gd name="T64" fmla="*/ 365 w 906"/>
                  <a:gd name="T65" fmla="*/ 1187 h 1198"/>
                  <a:gd name="T66" fmla="*/ 322 w 906"/>
                  <a:gd name="T67" fmla="*/ 1176 h 1198"/>
                  <a:gd name="T68" fmla="*/ 282 w 906"/>
                  <a:gd name="T69" fmla="*/ 1158 h 1198"/>
                  <a:gd name="T70" fmla="*/ 244 w 906"/>
                  <a:gd name="T71" fmla="*/ 1137 h 1198"/>
                  <a:gd name="T72" fmla="*/ 208 w 906"/>
                  <a:gd name="T73" fmla="*/ 1111 h 1198"/>
                  <a:gd name="T74" fmla="*/ 175 w 906"/>
                  <a:gd name="T75" fmla="*/ 1081 h 1198"/>
                  <a:gd name="T76" fmla="*/ 147 w 906"/>
                  <a:gd name="T77" fmla="*/ 1048 h 1198"/>
                  <a:gd name="T78" fmla="*/ 122 w 906"/>
                  <a:gd name="T79" fmla="*/ 1012 h 1198"/>
                  <a:gd name="T80" fmla="*/ 103 w 906"/>
                  <a:gd name="T81" fmla="*/ 971 h 1198"/>
                  <a:gd name="T82" fmla="*/ 87 w 906"/>
                  <a:gd name="T83" fmla="*/ 928 h 1198"/>
                  <a:gd name="T84" fmla="*/ 19 w 906"/>
                  <a:gd name="T85" fmla="*/ 664 h 1198"/>
                  <a:gd name="T86" fmla="*/ 7 w 906"/>
                  <a:gd name="T87" fmla="*/ 610 h 1198"/>
                  <a:gd name="T88" fmla="*/ 1 w 906"/>
                  <a:gd name="T89" fmla="*/ 556 h 1198"/>
                  <a:gd name="T90" fmla="*/ 0 w 906"/>
                  <a:gd name="T91" fmla="*/ 502 h 1198"/>
                  <a:gd name="T92" fmla="*/ 3 w 906"/>
                  <a:gd name="T93" fmla="*/ 448 h 1198"/>
                  <a:gd name="T94" fmla="*/ 12 w 906"/>
                  <a:gd name="T95" fmla="*/ 394 h 1198"/>
                  <a:gd name="T96" fmla="*/ 26 w 906"/>
                  <a:gd name="T97" fmla="*/ 343 h 1198"/>
                  <a:gd name="T98" fmla="*/ 44 w 906"/>
                  <a:gd name="T99" fmla="*/ 292 h 1198"/>
                  <a:gd name="T100" fmla="*/ 68 w 906"/>
                  <a:gd name="T101" fmla="*/ 244 h 1198"/>
                  <a:gd name="T102" fmla="*/ 93 w 906"/>
                  <a:gd name="T103" fmla="*/ 202 h 1198"/>
                  <a:gd name="T104" fmla="*/ 121 w 906"/>
                  <a:gd name="T105" fmla="*/ 163 h 1198"/>
                  <a:gd name="T106" fmla="*/ 154 w 906"/>
                  <a:gd name="T107" fmla="*/ 128 h 1198"/>
                  <a:gd name="T108" fmla="*/ 189 w 906"/>
                  <a:gd name="T109" fmla="*/ 95 h 1198"/>
                  <a:gd name="T110" fmla="*/ 226 w 906"/>
                  <a:gd name="T111" fmla="*/ 67 h 1198"/>
                  <a:gd name="T112" fmla="*/ 267 w 906"/>
                  <a:gd name="T113" fmla="*/ 44 h 1198"/>
                  <a:gd name="T114" fmla="*/ 310 w 906"/>
                  <a:gd name="T115" fmla="*/ 25 h 1198"/>
                  <a:gd name="T116" fmla="*/ 356 w 906"/>
                  <a:gd name="T117" fmla="*/ 11 h 1198"/>
                  <a:gd name="T118" fmla="*/ 403 w 906"/>
                  <a:gd name="T119" fmla="*/ 3 h 1198"/>
                  <a:gd name="T120" fmla="*/ 453 w 906"/>
                  <a:gd name="T121" fmla="*/ 0 h 1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906" h="1198">
                    <a:moveTo>
                      <a:pt x="453" y="0"/>
                    </a:moveTo>
                    <a:lnTo>
                      <a:pt x="502" y="3"/>
                    </a:lnTo>
                    <a:lnTo>
                      <a:pt x="550" y="11"/>
                    </a:lnTo>
                    <a:lnTo>
                      <a:pt x="595" y="25"/>
                    </a:lnTo>
                    <a:lnTo>
                      <a:pt x="638" y="44"/>
                    </a:lnTo>
                    <a:lnTo>
                      <a:pt x="678" y="67"/>
                    </a:lnTo>
                    <a:lnTo>
                      <a:pt x="717" y="95"/>
                    </a:lnTo>
                    <a:lnTo>
                      <a:pt x="752" y="128"/>
                    </a:lnTo>
                    <a:lnTo>
                      <a:pt x="783" y="163"/>
                    </a:lnTo>
                    <a:lnTo>
                      <a:pt x="812" y="202"/>
                    </a:lnTo>
                    <a:lnTo>
                      <a:pt x="838" y="244"/>
                    </a:lnTo>
                    <a:lnTo>
                      <a:pt x="861" y="292"/>
                    </a:lnTo>
                    <a:lnTo>
                      <a:pt x="880" y="343"/>
                    </a:lnTo>
                    <a:lnTo>
                      <a:pt x="893" y="394"/>
                    </a:lnTo>
                    <a:lnTo>
                      <a:pt x="902" y="448"/>
                    </a:lnTo>
                    <a:lnTo>
                      <a:pt x="906" y="502"/>
                    </a:lnTo>
                    <a:lnTo>
                      <a:pt x="904" y="556"/>
                    </a:lnTo>
                    <a:lnTo>
                      <a:pt x="899" y="610"/>
                    </a:lnTo>
                    <a:lnTo>
                      <a:pt x="887" y="664"/>
                    </a:lnTo>
                    <a:lnTo>
                      <a:pt x="817" y="928"/>
                    </a:lnTo>
                    <a:lnTo>
                      <a:pt x="803" y="971"/>
                    </a:lnTo>
                    <a:lnTo>
                      <a:pt x="783" y="1012"/>
                    </a:lnTo>
                    <a:lnTo>
                      <a:pt x="759" y="1048"/>
                    </a:lnTo>
                    <a:lnTo>
                      <a:pt x="729" y="1081"/>
                    </a:lnTo>
                    <a:lnTo>
                      <a:pt x="697" y="1111"/>
                    </a:lnTo>
                    <a:lnTo>
                      <a:pt x="662" y="1137"/>
                    </a:lnTo>
                    <a:lnTo>
                      <a:pt x="623" y="1158"/>
                    </a:lnTo>
                    <a:lnTo>
                      <a:pt x="582" y="1176"/>
                    </a:lnTo>
                    <a:lnTo>
                      <a:pt x="540" y="1187"/>
                    </a:lnTo>
                    <a:lnTo>
                      <a:pt x="497" y="1196"/>
                    </a:lnTo>
                    <a:lnTo>
                      <a:pt x="453" y="1198"/>
                    </a:lnTo>
                    <a:lnTo>
                      <a:pt x="408" y="1196"/>
                    </a:lnTo>
                    <a:lnTo>
                      <a:pt x="365" y="1187"/>
                    </a:lnTo>
                    <a:lnTo>
                      <a:pt x="322" y="1176"/>
                    </a:lnTo>
                    <a:lnTo>
                      <a:pt x="282" y="1158"/>
                    </a:lnTo>
                    <a:lnTo>
                      <a:pt x="244" y="1137"/>
                    </a:lnTo>
                    <a:lnTo>
                      <a:pt x="208" y="1111"/>
                    </a:lnTo>
                    <a:lnTo>
                      <a:pt x="175" y="1081"/>
                    </a:lnTo>
                    <a:lnTo>
                      <a:pt x="147" y="1048"/>
                    </a:lnTo>
                    <a:lnTo>
                      <a:pt x="122" y="1012"/>
                    </a:lnTo>
                    <a:lnTo>
                      <a:pt x="103" y="971"/>
                    </a:lnTo>
                    <a:lnTo>
                      <a:pt x="87" y="928"/>
                    </a:lnTo>
                    <a:lnTo>
                      <a:pt x="19" y="664"/>
                    </a:lnTo>
                    <a:lnTo>
                      <a:pt x="7" y="610"/>
                    </a:lnTo>
                    <a:lnTo>
                      <a:pt x="1" y="556"/>
                    </a:lnTo>
                    <a:lnTo>
                      <a:pt x="0" y="502"/>
                    </a:lnTo>
                    <a:lnTo>
                      <a:pt x="3" y="448"/>
                    </a:lnTo>
                    <a:lnTo>
                      <a:pt x="12" y="394"/>
                    </a:lnTo>
                    <a:lnTo>
                      <a:pt x="26" y="343"/>
                    </a:lnTo>
                    <a:lnTo>
                      <a:pt x="44" y="292"/>
                    </a:lnTo>
                    <a:lnTo>
                      <a:pt x="68" y="244"/>
                    </a:lnTo>
                    <a:lnTo>
                      <a:pt x="93" y="202"/>
                    </a:lnTo>
                    <a:lnTo>
                      <a:pt x="121" y="163"/>
                    </a:lnTo>
                    <a:lnTo>
                      <a:pt x="154" y="128"/>
                    </a:lnTo>
                    <a:lnTo>
                      <a:pt x="189" y="95"/>
                    </a:lnTo>
                    <a:lnTo>
                      <a:pt x="226" y="67"/>
                    </a:lnTo>
                    <a:lnTo>
                      <a:pt x="267" y="44"/>
                    </a:lnTo>
                    <a:lnTo>
                      <a:pt x="310" y="25"/>
                    </a:lnTo>
                    <a:lnTo>
                      <a:pt x="356" y="11"/>
                    </a:lnTo>
                    <a:lnTo>
                      <a:pt x="403" y="3"/>
                    </a:lnTo>
                    <a:lnTo>
                      <a:pt x="453" y="0"/>
                    </a:lnTo>
                    <a:close/>
                  </a:path>
                </a:pathLst>
              </a:custGeom>
              <a:solidFill>
                <a:schemeClr val="bg2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5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 ExtraLight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27" name="Freeform 9">
                <a:extLst>
                  <a:ext uri="{FF2B5EF4-FFF2-40B4-BE49-F238E27FC236}">
                    <a16:creationId xmlns:a16="http://schemas.microsoft.com/office/drawing/2014/main" id="{293D3C93-CE78-3D4A-81CF-5D37BCED11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90958" y="3809370"/>
                <a:ext cx="366330" cy="182595"/>
              </a:xfrm>
              <a:custGeom>
                <a:avLst/>
                <a:gdLst>
                  <a:gd name="T0" fmla="*/ 946 w 1921"/>
                  <a:gd name="T1" fmla="*/ 0 h 961"/>
                  <a:gd name="T2" fmla="*/ 1034 w 1921"/>
                  <a:gd name="T3" fmla="*/ 1 h 961"/>
                  <a:gd name="T4" fmla="*/ 1116 w 1921"/>
                  <a:gd name="T5" fmla="*/ 4 h 961"/>
                  <a:gd name="T6" fmla="*/ 1193 w 1921"/>
                  <a:gd name="T7" fmla="*/ 10 h 961"/>
                  <a:gd name="T8" fmla="*/ 1266 w 1921"/>
                  <a:gd name="T9" fmla="*/ 20 h 961"/>
                  <a:gd name="T10" fmla="*/ 1335 w 1921"/>
                  <a:gd name="T11" fmla="*/ 30 h 961"/>
                  <a:gd name="T12" fmla="*/ 1401 w 1921"/>
                  <a:gd name="T13" fmla="*/ 43 h 961"/>
                  <a:gd name="T14" fmla="*/ 1466 w 1921"/>
                  <a:gd name="T15" fmla="*/ 58 h 961"/>
                  <a:gd name="T16" fmla="*/ 1529 w 1921"/>
                  <a:gd name="T17" fmla="*/ 76 h 961"/>
                  <a:gd name="T18" fmla="*/ 1591 w 1921"/>
                  <a:gd name="T19" fmla="*/ 94 h 961"/>
                  <a:gd name="T20" fmla="*/ 1651 w 1921"/>
                  <a:gd name="T21" fmla="*/ 115 h 961"/>
                  <a:gd name="T22" fmla="*/ 1714 w 1921"/>
                  <a:gd name="T23" fmla="*/ 139 h 961"/>
                  <a:gd name="T24" fmla="*/ 1777 w 1921"/>
                  <a:gd name="T25" fmla="*/ 163 h 961"/>
                  <a:gd name="T26" fmla="*/ 1844 w 1921"/>
                  <a:gd name="T27" fmla="*/ 190 h 961"/>
                  <a:gd name="T28" fmla="*/ 1921 w 1921"/>
                  <a:gd name="T29" fmla="*/ 961 h 961"/>
                  <a:gd name="T30" fmla="*/ 0 w 1921"/>
                  <a:gd name="T31" fmla="*/ 961 h 961"/>
                  <a:gd name="T32" fmla="*/ 7 w 1921"/>
                  <a:gd name="T33" fmla="*/ 893 h 961"/>
                  <a:gd name="T34" fmla="*/ 12 w 1921"/>
                  <a:gd name="T35" fmla="*/ 827 h 961"/>
                  <a:gd name="T36" fmla="*/ 19 w 1921"/>
                  <a:gd name="T37" fmla="*/ 759 h 961"/>
                  <a:gd name="T38" fmla="*/ 26 w 1921"/>
                  <a:gd name="T39" fmla="*/ 694 h 961"/>
                  <a:gd name="T40" fmla="*/ 32 w 1921"/>
                  <a:gd name="T41" fmla="*/ 629 h 961"/>
                  <a:gd name="T42" fmla="*/ 38 w 1921"/>
                  <a:gd name="T43" fmla="*/ 567 h 961"/>
                  <a:gd name="T44" fmla="*/ 44 w 1921"/>
                  <a:gd name="T45" fmla="*/ 509 h 961"/>
                  <a:gd name="T46" fmla="*/ 50 w 1921"/>
                  <a:gd name="T47" fmla="*/ 453 h 961"/>
                  <a:gd name="T48" fmla="*/ 56 w 1921"/>
                  <a:gd name="T49" fmla="*/ 400 h 961"/>
                  <a:gd name="T50" fmla="*/ 60 w 1921"/>
                  <a:gd name="T51" fmla="*/ 352 h 961"/>
                  <a:gd name="T52" fmla="*/ 64 w 1921"/>
                  <a:gd name="T53" fmla="*/ 309 h 961"/>
                  <a:gd name="T54" fmla="*/ 68 w 1921"/>
                  <a:gd name="T55" fmla="*/ 272 h 961"/>
                  <a:gd name="T56" fmla="*/ 71 w 1921"/>
                  <a:gd name="T57" fmla="*/ 239 h 961"/>
                  <a:gd name="T58" fmla="*/ 74 w 1921"/>
                  <a:gd name="T59" fmla="*/ 213 h 961"/>
                  <a:gd name="T60" fmla="*/ 75 w 1921"/>
                  <a:gd name="T61" fmla="*/ 195 h 961"/>
                  <a:gd name="T62" fmla="*/ 77 w 1921"/>
                  <a:gd name="T63" fmla="*/ 183 h 961"/>
                  <a:gd name="T64" fmla="*/ 78 w 1921"/>
                  <a:gd name="T65" fmla="*/ 178 h 961"/>
                  <a:gd name="T66" fmla="*/ 142 w 1921"/>
                  <a:gd name="T67" fmla="*/ 154 h 961"/>
                  <a:gd name="T68" fmla="*/ 204 w 1921"/>
                  <a:gd name="T69" fmla="*/ 129 h 961"/>
                  <a:gd name="T70" fmla="*/ 265 w 1921"/>
                  <a:gd name="T71" fmla="*/ 108 h 961"/>
                  <a:gd name="T72" fmla="*/ 324 w 1921"/>
                  <a:gd name="T73" fmla="*/ 88 h 961"/>
                  <a:gd name="T74" fmla="*/ 385 w 1921"/>
                  <a:gd name="T75" fmla="*/ 70 h 961"/>
                  <a:gd name="T76" fmla="*/ 444 w 1921"/>
                  <a:gd name="T77" fmla="*/ 55 h 961"/>
                  <a:gd name="T78" fmla="*/ 507 w 1921"/>
                  <a:gd name="T79" fmla="*/ 39 h 961"/>
                  <a:gd name="T80" fmla="*/ 570 w 1921"/>
                  <a:gd name="T81" fmla="*/ 28 h 961"/>
                  <a:gd name="T82" fmla="*/ 638 w 1921"/>
                  <a:gd name="T83" fmla="*/ 18 h 961"/>
                  <a:gd name="T84" fmla="*/ 708 w 1921"/>
                  <a:gd name="T85" fmla="*/ 10 h 961"/>
                  <a:gd name="T86" fmla="*/ 782 w 1921"/>
                  <a:gd name="T87" fmla="*/ 4 h 961"/>
                  <a:gd name="T88" fmla="*/ 861 w 1921"/>
                  <a:gd name="T89" fmla="*/ 1 h 961"/>
                  <a:gd name="T90" fmla="*/ 946 w 1921"/>
                  <a:gd name="T91" fmla="*/ 0 h 9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921" h="961">
                    <a:moveTo>
                      <a:pt x="946" y="0"/>
                    </a:moveTo>
                    <a:lnTo>
                      <a:pt x="1034" y="1"/>
                    </a:lnTo>
                    <a:lnTo>
                      <a:pt x="1116" y="4"/>
                    </a:lnTo>
                    <a:lnTo>
                      <a:pt x="1193" y="10"/>
                    </a:lnTo>
                    <a:lnTo>
                      <a:pt x="1266" y="20"/>
                    </a:lnTo>
                    <a:lnTo>
                      <a:pt x="1335" y="30"/>
                    </a:lnTo>
                    <a:lnTo>
                      <a:pt x="1401" y="43"/>
                    </a:lnTo>
                    <a:lnTo>
                      <a:pt x="1466" y="58"/>
                    </a:lnTo>
                    <a:lnTo>
                      <a:pt x="1529" y="76"/>
                    </a:lnTo>
                    <a:lnTo>
                      <a:pt x="1591" y="94"/>
                    </a:lnTo>
                    <a:lnTo>
                      <a:pt x="1651" y="115"/>
                    </a:lnTo>
                    <a:lnTo>
                      <a:pt x="1714" y="139"/>
                    </a:lnTo>
                    <a:lnTo>
                      <a:pt x="1777" y="163"/>
                    </a:lnTo>
                    <a:lnTo>
                      <a:pt x="1844" y="190"/>
                    </a:lnTo>
                    <a:lnTo>
                      <a:pt x="1921" y="961"/>
                    </a:lnTo>
                    <a:lnTo>
                      <a:pt x="0" y="961"/>
                    </a:lnTo>
                    <a:lnTo>
                      <a:pt x="7" y="893"/>
                    </a:lnTo>
                    <a:lnTo>
                      <a:pt x="12" y="827"/>
                    </a:lnTo>
                    <a:lnTo>
                      <a:pt x="19" y="759"/>
                    </a:lnTo>
                    <a:lnTo>
                      <a:pt x="26" y="694"/>
                    </a:lnTo>
                    <a:lnTo>
                      <a:pt x="32" y="629"/>
                    </a:lnTo>
                    <a:lnTo>
                      <a:pt x="38" y="567"/>
                    </a:lnTo>
                    <a:lnTo>
                      <a:pt x="44" y="509"/>
                    </a:lnTo>
                    <a:lnTo>
                      <a:pt x="50" y="453"/>
                    </a:lnTo>
                    <a:lnTo>
                      <a:pt x="56" y="400"/>
                    </a:lnTo>
                    <a:lnTo>
                      <a:pt x="60" y="352"/>
                    </a:lnTo>
                    <a:lnTo>
                      <a:pt x="64" y="309"/>
                    </a:lnTo>
                    <a:lnTo>
                      <a:pt x="68" y="272"/>
                    </a:lnTo>
                    <a:lnTo>
                      <a:pt x="71" y="239"/>
                    </a:lnTo>
                    <a:lnTo>
                      <a:pt x="74" y="213"/>
                    </a:lnTo>
                    <a:lnTo>
                      <a:pt x="75" y="195"/>
                    </a:lnTo>
                    <a:lnTo>
                      <a:pt x="77" y="183"/>
                    </a:lnTo>
                    <a:lnTo>
                      <a:pt x="78" y="178"/>
                    </a:lnTo>
                    <a:lnTo>
                      <a:pt x="142" y="154"/>
                    </a:lnTo>
                    <a:lnTo>
                      <a:pt x="204" y="129"/>
                    </a:lnTo>
                    <a:lnTo>
                      <a:pt x="265" y="108"/>
                    </a:lnTo>
                    <a:lnTo>
                      <a:pt x="324" y="88"/>
                    </a:lnTo>
                    <a:lnTo>
                      <a:pt x="385" y="70"/>
                    </a:lnTo>
                    <a:lnTo>
                      <a:pt x="444" y="55"/>
                    </a:lnTo>
                    <a:lnTo>
                      <a:pt x="507" y="39"/>
                    </a:lnTo>
                    <a:lnTo>
                      <a:pt x="570" y="28"/>
                    </a:lnTo>
                    <a:lnTo>
                      <a:pt x="638" y="18"/>
                    </a:lnTo>
                    <a:lnTo>
                      <a:pt x="708" y="10"/>
                    </a:lnTo>
                    <a:lnTo>
                      <a:pt x="782" y="4"/>
                    </a:lnTo>
                    <a:lnTo>
                      <a:pt x="861" y="1"/>
                    </a:lnTo>
                    <a:lnTo>
                      <a:pt x="946" y="0"/>
                    </a:lnTo>
                    <a:close/>
                  </a:path>
                </a:pathLst>
              </a:custGeom>
              <a:solidFill>
                <a:schemeClr val="bg2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5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400" b="0" i="0" u="none" strike="noStrike" kern="1200" cap="none" spc="0" normalizeH="0" baseline="0" noProof="0" dirty="0">
                  <a:ln>
                    <a:noFill/>
                  </a:ln>
                  <a:solidFill>
                    <a:srgbClr val="676767"/>
                  </a:solidFill>
                  <a:effectLst/>
                  <a:uLnTx/>
                  <a:uFillTx/>
                  <a:latin typeface="CiscoSansTT ExtraLight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28" name="Freeform 10">
                <a:extLst>
                  <a:ext uri="{FF2B5EF4-FFF2-40B4-BE49-F238E27FC236}">
                    <a16:creationId xmlns:a16="http://schemas.microsoft.com/office/drawing/2014/main" id="{69BBF431-CA6A-3D44-8342-F599DFC394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91098" y="3601669"/>
                <a:ext cx="213408" cy="136946"/>
              </a:xfrm>
              <a:custGeom>
                <a:avLst/>
                <a:gdLst>
                  <a:gd name="T0" fmla="*/ 409 w 1123"/>
                  <a:gd name="T1" fmla="*/ 0 h 716"/>
                  <a:gd name="T2" fmla="*/ 484 w 1123"/>
                  <a:gd name="T3" fmla="*/ 1 h 716"/>
                  <a:gd name="T4" fmla="*/ 555 w 1123"/>
                  <a:gd name="T5" fmla="*/ 5 h 716"/>
                  <a:gd name="T6" fmla="*/ 619 w 1123"/>
                  <a:gd name="T7" fmla="*/ 11 h 716"/>
                  <a:gd name="T8" fmla="*/ 681 w 1123"/>
                  <a:gd name="T9" fmla="*/ 20 h 716"/>
                  <a:gd name="T10" fmla="*/ 738 w 1123"/>
                  <a:gd name="T11" fmla="*/ 30 h 716"/>
                  <a:gd name="T12" fmla="*/ 794 w 1123"/>
                  <a:gd name="T13" fmla="*/ 44 h 716"/>
                  <a:gd name="T14" fmla="*/ 848 w 1123"/>
                  <a:gd name="T15" fmla="*/ 60 h 716"/>
                  <a:gd name="T16" fmla="*/ 901 w 1123"/>
                  <a:gd name="T17" fmla="*/ 77 h 716"/>
                  <a:gd name="T18" fmla="*/ 955 w 1123"/>
                  <a:gd name="T19" fmla="*/ 97 h 716"/>
                  <a:gd name="T20" fmla="*/ 1010 w 1123"/>
                  <a:gd name="T21" fmla="*/ 118 h 716"/>
                  <a:gd name="T22" fmla="*/ 1066 w 1123"/>
                  <a:gd name="T23" fmla="*/ 141 h 716"/>
                  <a:gd name="T24" fmla="*/ 1123 w 1123"/>
                  <a:gd name="T25" fmla="*/ 716 h 716"/>
                  <a:gd name="T26" fmla="*/ 0 w 1123"/>
                  <a:gd name="T27" fmla="*/ 716 h 716"/>
                  <a:gd name="T28" fmla="*/ 18 w 1123"/>
                  <a:gd name="T29" fmla="*/ 664 h 716"/>
                  <a:gd name="T30" fmla="*/ 125 w 1123"/>
                  <a:gd name="T31" fmla="*/ 252 h 716"/>
                  <a:gd name="T32" fmla="*/ 142 w 1123"/>
                  <a:gd name="T33" fmla="*/ 175 h 716"/>
                  <a:gd name="T34" fmla="*/ 152 w 1123"/>
                  <a:gd name="T35" fmla="*/ 97 h 716"/>
                  <a:gd name="T36" fmla="*/ 154 w 1123"/>
                  <a:gd name="T37" fmla="*/ 18 h 716"/>
                  <a:gd name="T38" fmla="*/ 211 w 1123"/>
                  <a:gd name="T39" fmla="*/ 9 h 716"/>
                  <a:gd name="T40" fmla="*/ 272 w 1123"/>
                  <a:gd name="T41" fmla="*/ 5 h 716"/>
                  <a:gd name="T42" fmla="*/ 337 w 1123"/>
                  <a:gd name="T43" fmla="*/ 1 h 716"/>
                  <a:gd name="T44" fmla="*/ 409 w 1123"/>
                  <a:gd name="T45" fmla="*/ 0 h 7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123" h="716">
                    <a:moveTo>
                      <a:pt x="409" y="0"/>
                    </a:moveTo>
                    <a:lnTo>
                      <a:pt x="484" y="1"/>
                    </a:lnTo>
                    <a:lnTo>
                      <a:pt x="555" y="5"/>
                    </a:lnTo>
                    <a:lnTo>
                      <a:pt x="619" y="11"/>
                    </a:lnTo>
                    <a:lnTo>
                      <a:pt x="681" y="20"/>
                    </a:lnTo>
                    <a:lnTo>
                      <a:pt x="738" y="30"/>
                    </a:lnTo>
                    <a:lnTo>
                      <a:pt x="794" y="44"/>
                    </a:lnTo>
                    <a:lnTo>
                      <a:pt x="848" y="60"/>
                    </a:lnTo>
                    <a:lnTo>
                      <a:pt x="901" y="77"/>
                    </a:lnTo>
                    <a:lnTo>
                      <a:pt x="955" y="97"/>
                    </a:lnTo>
                    <a:lnTo>
                      <a:pt x="1010" y="118"/>
                    </a:lnTo>
                    <a:lnTo>
                      <a:pt x="1066" y="141"/>
                    </a:lnTo>
                    <a:lnTo>
                      <a:pt x="1123" y="716"/>
                    </a:lnTo>
                    <a:lnTo>
                      <a:pt x="0" y="716"/>
                    </a:lnTo>
                    <a:lnTo>
                      <a:pt x="18" y="664"/>
                    </a:lnTo>
                    <a:lnTo>
                      <a:pt x="125" y="252"/>
                    </a:lnTo>
                    <a:lnTo>
                      <a:pt x="142" y="175"/>
                    </a:lnTo>
                    <a:lnTo>
                      <a:pt x="152" y="97"/>
                    </a:lnTo>
                    <a:lnTo>
                      <a:pt x="154" y="18"/>
                    </a:lnTo>
                    <a:lnTo>
                      <a:pt x="211" y="9"/>
                    </a:lnTo>
                    <a:lnTo>
                      <a:pt x="272" y="5"/>
                    </a:lnTo>
                    <a:lnTo>
                      <a:pt x="337" y="1"/>
                    </a:lnTo>
                    <a:lnTo>
                      <a:pt x="40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5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400" b="0" i="0" u="none" strike="noStrike" kern="1200" cap="none" spc="0" normalizeH="0" baseline="0" noProof="0" dirty="0">
                  <a:ln>
                    <a:noFill/>
                  </a:ln>
                  <a:solidFill>
                    <a:srgbClr val="676767"/>
                  </a:solidFill>
                  <a:effectLst/>
                  <a:uLnTx/>
                  <a:uFillTx/>
                  <a:latin typeface="CiscoSansTT ExtraLight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29" name="Freeform 11">
                <a:extLst>
                  <a:ext uri="{FF2B5EF4-FFF2-40B4-BE49-F238E27FC236}">
                    <a16:creationId xmlns:a16="http://schemas.microsoft.com/office/drawing/2014/main" id="{88EA462B-25C4-F24E-BB91-6A1025BBAD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72986" y="3716932"/>
                <a:ext cx="243079" cy="132381"/>
              </a:xfrm>
              <a:custGeom>
                <a:avLst/>
                <a:gdLst>
                  <a:gd name="T0" fmla="*/ 686 w 1279"/>
                  <a:gd name="T1" fmla="*/ 0 h 697"/>
                  <a:gd name="T2" fmla="*/ 762 w 1279"/>
                  <a:gd name="T3" fmla="*/ 1 h 697"/>
                  <a:gd name="T4" fmla="*/ 832 w 1279"/>
                  <a:gd name="T5" fmla="*/ 4 h 697"/>
                  <a:gd name="T6" fmla="*/ 896 w 1279"/>
                  <a:gd name="T7" fmla="*/ 10 h 697"/>
                  <a:gd name="T8" fmla="*/ 957 w 1279"/>
                  <a:gd name="T9" fmla="*/ 20 h 697"/>
                  <a:gd name="T10" fmla="*/ 1016 w 1279"/>
                  <a:gd name="T11" fmla="*/ 30 h 697"/>
                  <a:gd name="T12" fmla="*/ 1070 w 1279"/>
                  <a:gd name="T13" fmla="*/ 44 h 697"/>
                  <a:gd name="T14" fmla="*/ 1125 w 1279"/>
                  <a:gd name="T15" fmla="*/ 59 h 697"/>
                  <a:gd name="T16" fmla="*/ 1178 w 1279"/>
                  <a:gd name="T17" fmla="*/ 77 h 697"/>
                  <a:gd name="T18" fmla="*/ 1216 w 1279"/>
                  <a:gd name="T19" fmla="*/ 91 h 697"/>
                  <a:gd name="T20" fmla="*/ 1255 w 1279"/>
                  <a:gd name="T21" fmla="*/ 106 h 697"/>
                  <a:gd name="T22" fmla="*/ 1263 w 1279"/>
                  <a:gd name="T23" fmla="*/ 152 h 697"/>
                  <a:gd name="T24" fmla="*/ 1271 w 1279"/>
                  <a:gd name="T25" fmla="*/ 196 h 697"/>
                  <a:gd name="T26" fmla="*/ 1279 w 1279"/>
                  <a:gd name="T27" fmla="*/ 239 h 697"/>
                  <a:gd name="T28" fmla="*/ 940 w 1279"/>
                  <a:gd name="T29" fmla="*/ 362 h 697"/>
                  <a:gd name="T30" fmla="*/ 865 w 1279"/>
                  <a:gd name="T31" fmla="*/ 697 h 697"/>
                  <a:gd name="T32" fmla="*/ 0 w 1279"/>
                  <a:gd name="T33" fmla="*/ 697 h 697"/>
                  <a:gd name="T34" fmla="*/ 6 w 1279"/>
                  <a:gd name="T35" fmla="*/ 641 h 697"/>
                  <a:gd name="T36" fmla="*/ 12 w 1279"/>
                  <a:gd name="T37" fmla="*/ 586 h 697"/>
                  <a:gd name="T38" fmla="*/ 16 w 1279"/>
                  <a:gd name="T39" fmla="*/ 531 h 697"/>
                  <a:gd name="T40" fmla="*/ 22 w 1279"/>
                  <a:gd name="T41" fmla="*/ 478 h 697"/>
                  <a:gd name="T42" fmla="*/ 27 w 1279"/>
                  <a:gd name="T43" fmla="*/ 426 h 697"/>
                  <a:gd name="T44" fmla="*/ 32 w 1279"/>
                  <a:gd name="T45" fmla="*/ 377 h 697"/>
                  <a:gd name="T46" fmla="*/ 36 w 1279"/>
                  <a:gd name="T47" fmla="*/ 330 h 697"/>
                  <a:gd name="T48" fmla="*/ 41 w 1279"/>
                  <a:gd name="T49" fmla="*/ 288 h 697"/>
                  <a:gd name="T50" fmla="*/ 44 w 1279"/>
                  <a:gd name="T51" fmla="*/ 249 h 697"/>
                  <a:gd name="T52" fmla="*/ 48 w 1279"/>
                  <a:gd name="T53" fmla="*/ 215 h 697"/>
                  <a:gd name="T54" fmla="*/ 51 w 1279"/>
                  <a:gd name="T55" fmla="*/ 186 h 697"/>
                  <a:gd name="T56" fmla="*/ 54 w 1279"/>
                  <a:gd name="T57" fmla="*/ 162 h 697"/>
                  <a:gd name="T58" fmla="*/ 55 w 1279"/>
                  <a:gd name="T59" fmla="*/ 143 h 697"/>
                  <a:gd name="T60" fmla="*/ 56 w 1279"/>
                  <a:gd name="T61" fmla="*/ 133 h 697"/>
                  <a:gd name="T62" fmla="*/ 56 w 1279"/>
                  <a:gd name="T63" fmla="*/ 129 h 697"/>
                  <a:gd name="T64" fmla="*/ 111 w 1279"/>
                  <a:gd name="T65" fmla="*/ 107 h 697"/>
                  <a:gd name="T66" fmla="*/ 165 w 1279"/>
                  <a:gd name="T67" fmla="*/ 89 h 697"/>
                  <a:gd name="T68" fmla="*/ 216 w 1279"/>
                  <a:gd name="T69" fmla="*/ 70 h 697"/>
                  <a:gd name="T70" fmla="*/ 267 w 1279"/>
                  <a:gd name="T71" fmla="*/ 54 h 697"/>
                  <a:gd name="T72" fmla="*/ 319 w 1279"/>
                  <a:gd name="T73" fmla="*/ 40 h 697"/>
                  <a:gd name="T74" fmla="*/ 372 w 1279"/>
                  <a:gd name="T75" fmla="*/ 28 h 697"/>
                  <a:gd name="T76" fmla="*/ 427 w 1279"/>
                  <a:gd name="T77" fmla="*/ 17 h 697"/>
                  <a:gd name="T78" fmla="*/ 486 w 1279"/>
                  <a:gd name="T79" fmla="*/ 9 h 697"/>
                  <a:gd name="T80" fmla="*/ 547 w 1279"/>
                  <a:gd name="T81" fmla="*/ 4 h 697"/>
                  <a:gd name="T82" fmla="*/ 614 w 1279"/>
                  <a:gd name="T83" fmla="*/ 1 h 697"/>
                  <a:gd name="T84" fmla="*/ 686 w 1279"/>
                  <a:gd name="T85" fmla="*/ 0 h 6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279" h="697">
                    <a:moveTo>
                      <a:pt x="686" y="0"/>
                    </a:moveTo>
                    <a:lnTo>
                      <a:pt x="762" y="1"/>
                    </a:lnTo>
                    <a:lnTo>
                      <a:pt x="832" y="4"/>
                    </a:lnTo>
                    <a:lnTo>
                      <a:pt x="896" y="10"/>
                    </a:lnTo>
                    <a:lnTo>
                      <a:pt x="957" y="20"/>
                    </a:lnTo>
                    <a:lnTo>
                      <a:pt x="1016" y="30"/>
                    </a:lnTo>
                    <a:lnTo>
                      <a:pt x="1070" y="44"/>
                    </a:lnTo>
                    <a:lnTo>
                      <a:pt x="1125" y="59"/>
                    </a:lnTo>
                    <a:lnTo>
                      <a:pt x="1178" y="77"/>
                    </a:lnTo>
                    <a:lnTo>
                      <a:pt x="1216" y="91"/>
                    </a:lnTo>
                    <a:lnTo>
                      <a:pt x="1255" y="106"/>
                    </a:lnTo>
                    <a:lnTo>
                      <a:pt x="1263" y="152"/>
                    </a:lnTo>
                    <a:lnTo>
                      <a:pt x="1271" y="196"/>
                    </a:lnTo>
                    <a:lnTo>
                      <a:pt x="1279" y="239"/>
                    </a:lnTo>
                    <a:lnTo>
                      <a:pt x="940" y="362"/>
                    </a:lnTo>
                    <a:lnTo>
                      <a:pt x="865" y="697"/>
                    </a:lnTo>
                    <a:lnTo>
                      <a:pt x="0" y="697"/>
                    </a:lnTo>
                    <a:lnTo>
                      <a:pt x="6" y="641"/>
                    </a:lnTo>
                    <a:lnTo>
                      <a:pt x="12" y="586"/>
                    </a:lnTo>
                    <a:lnTo>
                      <a:pt x="16" y="531"/>
                    </a:lnTo>
                    <a:lnTo>
                      <a:pt x="22" y="478"/>
                    </a:lnTo>
                    <a:lnTo>
                      <a:pt x="27" y="426"/>
                    </a:lnTo>
                    <a:lnTo>
                      <a:pt x="32" y="377"/>
                    </a:lnTo>
                    <a:lnTo>
                      <a:pt x="36" y="330"/>
                    </a:lnTo>
                    <a:lnTo>
                      <a:pt x="41" y="288"/>
                    </a:lnTo>
                    <a:lnTo>
                      <a:pt x="44" y="249"/>
                    </a:lnTo>
                    <a:lnTo>
                      <a:pt x="48" y="215"/>
                    </a:lnTo>
                    <a:lnTo>
                      <a:pt x="51" y="186"/>
                    </a:lnTo>
                    <a:lnTo>
                      <a:pt x="54" y="162"/>
                    </a:lnTo>
                    <a:lnTo>
                      <a:pt x="55" y="143"/>
                    </a:lnTo>
                    <a:lnTo>
                      <a:pt x="56" y="133"/>
                    </a:lnTo>
                    <a:lnTo>
                      <a:pt x="56" y="129"/>
                    </a:lnTo>
                    <a:lnTo>
                      <a:pt x="111" y="107"/>
                    </a:lnTo>
                    <a:lnTo>
                      <a:pt x="165" y="89"/>
                    </a:lnTo>
                    <a:lnTo>
                      <a:pt x="216" y="70"/>
                    </a:lnTo>
                    <a:lnTo>
                      <a:pt x="267" y="54"/>
                    </a:lnTo>
                    <a:lnTo>
                      <a:pt x="319" y="40"/>
                    </a:lnTo>
                    <a:lnTo>
                      <a:pt x="372" y="28"/>
                    </a:lnTo>
                    <a:lnTo>
                      <a:pt x="427" y="17"/>
                    </a:lnTo>
                    <a:lnTo>
                      <a:pt x="486" y="9"/>
                    </a:lnTo>
                    <a:lnTo>
                      <a:pt x="547" y="4"/>
                    </a:lnTo>
                    <a:lnTo>
                      <a:pt x="614" y="1"/>
                    </a:lnTo>
                    <a:lnTo>
                      <a:pt x="68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5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400" b="0" i="0" u="none" strike="noStrike" kern="1200" cap="none" spc="0" normalizeH="0" baseline="0" noProof="0" dirty="0">
                  <a:ln>
                    <a:noFill/>
                  </a:ln>
                  <a:solidFill>
                    <a:srgbClr val="676767"/>
                  </a:solidFill>
                  <a:effectLst/>
                  <a:uLnTx/>
                  <a:uFillTx/>
                  <a:latin typeface="CiscoSansTT ExtraLight"/>
                  <a:ea typeface="ＭＳ Ｐゴシック" charset="0"/>
                  <a:cs typeface="ＭＳ Ｐゴシック" charset="0"/>
                </a:endParaRPr>
              </a:p>
            </p:txBody>
          </p:sp>
        </p:grpSp>
      </p:grpSp>
      <p:grpSp>
        <p:nvGrpSpPr>
          <p:cNvPr id="30" name="Group 120">
            <a:extLst>
              <a:ext uri="{FF2B5EF4-FFF2-40B4-BE49-F238E27FC236}">
                <a16:creationId xmlns:a16="http://schemas.microsoft.com/office/drawing/2014/main" id="{F1FB0C32-E0D8-9247-BC7C-4945FB9AAE2B}"/>
              </a:ext>
            </a:extLst>
          </p:cNvPr>
          <p:cNvGrpSpPr>
            <a:grpSpLocks noChangeAspect="1"/>
          </p:cNvGrpSpPr>
          <p:nvPr/>
        </p:nvGrpSpPr>
        <p:grpSpPr>
          <a:xfrm>
            <a:off x="9240944" y="2304658"/>
            <a:ext cx="1038012" cy="720000"/>
            <a:chOff x="5952999" y="1793598"/>
            <a:chExt cx="1159182" cy="964913"/>
          </a:xfrm>
          <a:solidFill>
            <a:schemeClr val="tx2"/>
          </a:solidFill>
          <a:effectLst/>
        </p:grpSpPr>
        <p:grpSp>
          <p:nvGrpSpPr>
            <p:cNvPr id="31" name="Group 121">
              <a:extLst>
                <a:ext uri="{FF2B5EF4-FFF2-40B4-BE49-F238E27FC236}">
                  <a16:creationId xmlns:a16="http://schemas.microsoft.com/office/drawing/2014/main" id="{CF317062-D4C8-214C-81FC-A2BDE827DBB8}"/>
                </a:ext>
              </a:extLst>
            </p:cNvPr>
            <p:cNvGrpSpPr/>
            <p:nvPr/>
          </p:nvGrpSpPr>
          <p:grpSpPr>
            <a:xfrm>
              <a:off x="5952999" y="2089963"/>
              <a:ext cx="317292" cy="407966"/>
              <a:chOff x="-1550988" y="2646363"/>
              <a:chExt cx="463550" cy="471488"/>
            </a:xfrm>
            <a:grpFill/>
          </p:grpSpPr>
          <p:sp>
            <p:nvSpPr>
              <p:cNvPr id="58" name="Freeform 27">
                <a:extLst>
                  <a:ext uri="{FF2B5EF4-FFF2-40B4-BE49-F238E27FC236}">
                    <a16:creationId xmlns:a16="http://schemas.microsoft.com/office/drawing/2014/main" id="{35BD46C0-FA0B-C74E-AFDD-18E1626982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550988" y="2646363"/>
                <a:ext cx="134938" cy="471488"/>
              </a:xfrm>
              <a:custGeom>
                <a:avLst/>
                <a:gdLst>
                  <a:gd name="T0" fmla="*/ 0 w 36"/>
                  <a:gd name="T1" fmla="*/ 62 h 126"/>
                  <a:gd name="T2" fmla="*/ 5 w 36"/>
                  <a:gd name="T3" fmla="*/ 17 h 126"/>
                  <a:gd name="T4" fmla="*/ 28 w 36"/>
                  <a:gd name="T5" fmla="*/ 5 h 126"/>
                  <a:gd name="T6" fmla="*/ 30 w 36"/>
                  <a:gd name="T7" fmla="*/ 6 h 126"/>
                  <a:gd name="T8" fmla="*/ 34 w 36"/>
                  <a:gd name="T9" fmla="*/ 14 h 126"/>
                  <a:gd name="T10" fmla="*/ 27 w 36"/>
                  <a:gd name="T11" fmla="*/ 35 h 126"/>
                  <a:gd name="T12" fmla="*/ 21 w 36"/>
                  <a:gd name="T13" fmla="*/ 40 h 126"/>
                  <a:gd name="T14" fmla="*/ 14 w 36"/>
                  <a:gd name="T15" fmla="*/ 46 h 126"/>
                  <a:gd name="T16" fmla="*/ 14 w 36"/>
                  <a:gd name="T17" fmla="*/ 82 h 126"/>
                  <a:gd name="T18" fmla="*/ 21 w 36"/>
                  <a:gd name="T19" fmla="*/ 89 h 126"/>
                  <a:gd name="T20" fmla="*/ 27 w 36"/>
                  <a:gd name="T21" fmla="*/ 93 h 126"/>
                  <a:gd name="T22" fmla="*/ 34 w 36"/>
                  <a:gd name="T23" fmla="*/ 116 h 126"/>
                  <a:gd name="T24" fmla="*/ 32 w 36"/>
                  <a:gd name="T25" fmla="*/ 121 h 126"/>
                  <a:gd name="T26" fmla="*/ 21 w 36"/>
                  <a:gd name="T27" fmla="*/ 125 h 126"/>
                  <a:gd name="T28" fmla="*/ 5 w 36"/>
                  <a:gd name="T29" fmla="*/ 112 h 126"/>
                  <a:gd name="T30" fmla="*/ 1 w 36"/>
                  <a:gd name="T31" fmla="*/ 77 h 126"/>
                  <a:gd name="T32" fmla="*/ 0 w 36"/>
                  <a:gd name="T33" fmla="*/ 62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6" h="126">
                    <a:moveTo>
                      <a:pt x="0" y="62"/>
                    </a:moveTo>
                    <a:cubicBezTo>
                      <a:pt x="1" y="47"/>
                      <a:pt x="2" y="32"/>
                      <a:pt x="5" y="17"/>
                    </a:cubicBezTo>
                    <a:cubicBezTo>
                      <a:pt x="6" y="5"/>
                      <a:pt x="16" y="0"/>
                      <a:pt x="28" y="5"/>
                    </a:cubicBezTo>
                    <a:cubicBezTo>
                      <a:pt x="28" y="5"/>
                      <a:pt x="29" y="6"/>
                      <a:pt x="30" y="6"/>
                    </a:cubicBezTo>
                    <a:cubicBezTo>
                      <a:pt x="35" y="7"/>
                      <a:pt x="36" y="10"/>
                      <a:pt x="34" y="14"/>
                    </a:cubicBezTo>
                    <a:cubicBezTo>
                      <a:pt x="31" y="21"/>
                      <a:pt x="29" y="28"/>
                      <a:pt x="27" y="35"/>
                    </a:cubicBezTo>
                    <a:cubicBezTo>
                      <a:pt x="26" y="38"/>
                      <a:pt x="25" y="40"/>
                      <a:pt x="21" y="40"/>
                    </a:cubicBezTo>
                    <a:cubicBezTo>
                      <a:pt x="16" y="39"/>
                      <a:pt x="14" y="41"/>
                      <a:pt x="14" y="46"/>
                    </a:cubicBezTo>
                    <a:cubicBezTo>
                      <a:pt x="14" y="58"/>
                      <a:pt x="14" y="70"/>
                      <a:pt x="14" y="82"/>
                    </a:cubicBezTo>
                    <a:cubicBezTo>
                      <a:pt x="14" y="87"/>
                      <a:pt x="16" y="89"/>
                      <a:pt x="21" y="89"/>
                    </a:cubicBezTo>
                    <a:cubicBezTo>
                      <a:pt x="24" y="88"/>
                      <a:pt x="26" y="90"/>
                      <a:pt x="27" y="93"/>
                    </a:cubicBezTo>
                    <a:cubicBezTo>
                      <a:pt x="29" y="101"/>
                      <a:pt x="32" y="108"/>
                      <a:pt x="34" y="116"/>
                    </a:cubicBezTo>
                    <a:cubicBezTo>
                      <a:pt x="35" y="119"/>
                      <a:pt x="35" y="120"/>
                      <a:pt x="32" y="121"/>
                    </a:cubicBezTo>
                    <a:cubicBezTo>
                      <a:pt x="28" y="123"/>
                      <a:pt x="25" y="125"/>
                      <a:pt x="21" y="125"/>
                    </a:cubicBezTo>
                    <a:cubicBezTo>
                      <a:pt x="13" y="126"/>
                      <a:pt x="6" y="120"/>
                      <a:pt x="5" y="112"/>
                    </a:cubicBezTo>
                    <a:cubicBezTo>
                      <a:pt x="3" y="101"/>
                      <a:pt x="2" y="89"/>
                      <a:pt x="1" y="77"/>
                    </a:cubicBezTo>
                    <a:cubicBezTo>
                      <a:pt x="1" y="72"/>
                      <a:pt x="0" y="62"/>
                      <a:pt x="0" y="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5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67" b="0" i="0" u="none" strike="noStrike" kern="1200" cap="none" spc="0" normalizeH="0" baseline="0" noProof="0" dirty="0">
                  <a:ln>
                    <a:noFill/>
                  </a:ln>
                  <a:solidFill>
                    <a:srgbClr val="676767"/>
                  </a:solidFill>
                  <a:effectLst/>
                  <a:uLnTx/>
                  <a:uFillTx/>
                  <a:latin typeface="CiscoSansTT ExtraLight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59" name="Freeform 28">
                <a:extLst>
                  <a:ext uri="{FF2B5EF4-FFF2-40B4-BE49-F238E27FC236}">
                    <a16:creationId xmlns:a16="http://schemas.microsoft.com/office/drawing/2014/main" id="{89B1F0D8-0D27-5244-A8B0-5587735EDDE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1484313" y="2706688"/>
                <a:ext cx="396875" cy="366713"/>
              </a:xfrm>
              <a:custGeom>
                <a:avLst/>
                <a:gdLst>
                  <a:gd name="T0" fmla="*/ 98 w 106"/>
                  <a:gd name="T1" fmla="*/ 0 h 98"/>
                  <a:gd name="T2" fmla="*/ 18 w 106"/>
                  <a:gd name="T3" fmla="*/ 4 h 98"/>
                  <a:gd name="T4" fmla="*/ 4 w 106"/>
                  <a:gd name="T5" fmla="*/ 28 h 98"/>
                  <a:gd name="T6" fmla="*/ 0 w 106"/>
                  <a:gd name="T7" fmla="*/ 68 h 98"/>
                  <a:gd name="T8" fmla="*/ 19 w 106"/>
                  <a:gd name="T9" fmla="*/ 94 h 98"/>
                  <a:gd name="T10" fmla="*/ 98 w 106"/>
                  <a:gd name="T11" fmla="*/ 98 h 98"/>
                  <a:gd name="T12" fmla="*/ 106 w 106"/>
                  <a:gd name="T13" fmla="*/ 8 h 98"/>
                  <a:gd name="T14" fmla="*/ 40 w 106"/>
                  <a:gd name="T15" fmla="*/ 70 h 98"/>
                  <a:gd name="T16" fmla="*/ 52 w 106"/>
                  <a:gd name="T17" fmla="*/ 70 h 98"/>
                  <a:gd name="T18" fmla="*/ 46 w 106"/>
                  <a:gd name="T19" fmla="*/ 59 h 98"/>
                  <a:gd name="T20" fmla="*/ 46 w 106"/>
                  <a:gd name="T21" fmla="*/ 48 h 98"/>
                  <a:gd name="T22" fmla="*/ 46 w 106"/>
                  <a:gd name="T23" fmla="*/ 59 h 98"/>
                  <a:gd name="T24" fmla="*/ 40 w 106"/>
                  <a:gd name="T25" fmla="*/ 38 h 98"/>
                  <a:gd name="T26" fmla="*/ 52 w 106"/>
                  <a:gd name="T27" fmla="*/ 38 h 98"/>
                  <a:gd name="T28" fmla="*/ 63 w 106"/>
                  <a:gd name="T29" fmla="*/ 75 h 98"/>
                  <a:gd name="T30" fmla="*/ 63 w 106"/>
                  <a:gd name="T31" fmla="*/ 64 h 98"/>
                  <a:gd name="T32" fmla="*/ 63 w 106"/>
                  <a:gd name="T33" fmla="*/ 75 h 98"/>
                  <a:gd name="T34" fmla="*/ 57 w 106"/>
                  <a:gd name="T35" fmla="*/ 54 h 98"/>
                  <a:gd name="T36" fmla="*/ 69 w 106"/>
                  <a:gd name="T37" fmla="*/ 54 h 98"/>
                  <a:gd name="T38" fmla="*/ 63 w 106"/>
                  <a:gd name="T39" fmla="*/ 44 h 98"/>
                  <a:gd name="T40" fmla="*/ 63 w 106"/>
                  <a:gd name="T41" fmla="*/ 32 h 98"/>
                  <a:gd name="T42" fmla="*/ 63 w 106"/>
                  <a:gd name="T43" fmla="*/ 44 h 98"/>
                  <a:gd name="T44" fmla="*/ 75 w 106"/>
                  <a:gd name="T45" fmla="*/ 70 h 98"/>
                  <a:gd name="T46" fmla="*/ 86 w 106"/>
                  <a:gd name="T47" fmla="*/ 70 h 98"/>
                  <a:gd name="T48" fmla="*/ 80 w 106"/>
                  <a:gd name="T49" fmla="*/ 59 h 98"/>
                  <a:gd name="T50" fmla="*/ 80 w 106"/>
                  <a:gd name="T51" fmla="*/ 48 h 98"/>
                  <a:gd name="T52" fmla="*/ 80 w 106"/>
                  <a:gd name="T53" fmla="*/ 59 h 98"/>
                  <a:gd name="T54" fmla="*/ 75 w 106"/>
                  <a:gd name="T55" fmla="*/ 38 h 98"/>
                  <a:gd name="T56" fmla="*/ 86 w 106"/>
                  <a:gd name="T57" fmla="*/ 38 h 98"/>
                  <a:gd name="T58" fmla="*/ 83 w 106"/>
                  <a:gd name="T59" fmla="*/ 24 h 98"/>
                  <a:gd name="T60" fmla="*/ 42 w 106"/>
                  <a:gd name="T61" fmla="*/ 24 h 98"/>
                  <a:gd name="T62" fmla="*/ 49 w 106"/>
                  <a:gd name="T63" fmla="*/ 8 h 98"/>
                  <a:gd name="T64" fmla="*/ 93 w 106"/>
                  <a:gd name="T65" fmla="*/ 13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06" h="98">
                    <a:moveTo>
                      <a:pt x="106" y="8"/>
                    </a:moveTo>
                    <a:cubicBezTo>
                      <a:pt x="106" y="2"/>
                      <a:pt x="104" y="0"/>
                      <a:pt x="98" y="0"/>
                    </a:cubicBezTo>
                    <a:cubicBezTo>
                      <a:pt x="73" y="0"/>
                      <a:pt x="48" y="0"/>
                      <a:pt x="23" y="0"/>
                    </a:cubicBezTo>
                    <a:cubicBezTo>
                      <a:pt x="20" y="0"/>
                      <a:pt x="19" y="1"/>
                      <a:pt x="18" y="4"/>
                    </a:cubicBezTo>
                    <a:cubicBezTo>
                      <a:pt x="17" y="10"/>
                      <a:pt x="15" y="16"/>
                      <a:pt x="13" y="22"/>
                    </a:cubicBezTo>
                    <a:cubicBezTo>
                      <a:pt x="11" y="26"/>
                      <a:pt x="9" y="28"/>
                      <a:pt x="4" y="28"/>
                    </a:cubicBezTo>
                    <a:cubicBezTo>
                      <a:pt x="3" y="28"/>
                      <a:pt x="2" y="28"/>
                      <a:pt x="0" y="28"/>
                    </a:cubicBezTo>
                    <a:cubicBezTo>
                      <a:pt x="0" y="41"/>
                      <a:pt x="0" y="55"/>
                      <a:pt x="0" y="68"/>
                    </a:cubicBezTo>
                    <a:cubicBezTo>
                      <a:pt x="10" y="68"/>
                      <a:pt x="11" y="69"/>
                      <a:pt x="14" y="77"/>
                    </a:cubicBezTo>
                    <a:cubicBezTo>
                      <a:pt x="16" y="83"/>
                      <a:pt x="17" y="89"/>
                      <a:pt x="19" y="94"/>
                    </a:cubicBezTo>
                    <a:cubicBezTo>
                      <a:pt x="20" y="97"/>
                      <a:pt x="21" y="98"/>
                      <a:pt x="24" y="98"/>
                    </a:cubicBezTo>
                    <a:cubicBezTo>
                      <a:pt x="49" y="98"/>
                      <a:pt x="73" y="98"/>
                      <a:pt x="98" y="98"/>
                    </a:cubicBezTo>
                    <a:cubicBezTo>
                      <a:pt x="104" y="98"/>
                      <a:pt x="106" y="96"/>
                      <a:pt x="106" y="90"/>
                    </a:cubicBezTo>
                    <a:cubicBezTo>
                      <a:pt x="106" y="63"/>
                      <a:pt x="106" y="35"/>
                      <a:pt x="106" y="8"/>
                    </a:cubicBezTo>
                    <a:close/>
                    <a:moveTo>
                      <a:pt x="46" y="75"/>
                    </a:moveTo>
                    <a:cubicBezTo>
                      <a:pt x="43" y="75"/>
                      <a:pt x="40" y="73"/>
                      <a:pt x="40" y="70"/>
                    </a:cubicBezTo>
                    <a:cubicBezTo>
                      <a:pt x="40" y="67"/>
                      <a:pt x="43" y="64"/>
                      <a:pt x="46" y="64"/>
                    </a:cubicBezTo>
                    <a:cubicBezTo>
                      <a:pt x="49" y="64"/>
                      <a:pt x="52" y="67"/>
                      <a:pt x="52" y="70"/>
                    </a:cubicBezTo>
                    <a:cubicBezTo>
                      <a:pt x="52" y="73"/>
                      <a:pt x="49" y="75"/>
                      <a:pt x="46" y="75"/>
                    </a:cubicBezTo>
                    <a:close/>
                    <a:moveTo>
                      <a:pt x="46" y="59"/>
                    </a:moveTo>
                    <a:cubicBezTo>
                      <a:pt x="43" y="59"/>
                      <a:pt x="40" y="57"/>
                      <a:pt x="40" y="54"/>
                    </a:cubicBezTo>
                    <a:cubicBezTo>
                      <a:pt x="40" y="51"/>
                      <a:pt x="43" y="48"/>
                      <a:pt x="46" y="48"/>
                    </a:cubicBezTo>
                    <a:cubicBezTo>
                      <a:pt x="49" y="48"/>
                      <a:pt x="52" y="51"/>
                      <a:pt x="52" y="54"/>
                    </a:cubicBezTo>
                    <a:cubicBezTo>
                      <a:pt x="52" y="57"/>
                      <a:pt x="49" y="59"/>
                      <a:pt x="46" y="59"/>
                    </a:cubicBezTo>
                    <a:close/>
                    <a:moveTo>
                      <a:pt x="46" y="44"/>
                    </a:moveTo>
                    <a:cubicBezTo>
                      <a:pt x="43" y="44"/>
                      <a:pt x="40" y="41"/>
                      <a:pt x="40" y="38"/>
                    </a:cubicBezTo>
                    <a:cubicBezTo>
                      <a:pt x="40" y="35"/>
                      <a:pt x="43" y="32"/>
                      <a:pt x="46" y="32"/>
                    </a:cubicBezTo>
                    <a:cubicBezTo>
                      <a:pt x="49" y="32"/>
                      <a:pt x="52" y="35"/>
                      <a:pt x="52" y="38"/>
                    </a:cubicBezTo>
                    <a:cubicBezTo>
                      <a:pt x="52" y="41"/>
                      <a:pt x="49" y="44"/>
                      <a:pt x="46" y="44"/>
                    </a:cubicBezTo>
                    <a:close/>
                    <a:moveTo>
                      <a:pt x="63" y="75"/>
                    </a:moveTo>
                    <a:cubicBezTo>
                      <a:pt x="60" y="75"/>
                      <a:pt x="57" y="73"/>
                      <a:pt x="57" y="70"/>
                    </a:cubicBezTo>
                    <a:cubicBezTo>
                      <a:pt x="57" y="67"/>
                      <a:pt x="60" y="64"/>
                      <a:pt x="63" y="64"/>
                    </a:cubicBezTo>
                    <a:cubicBezTo>
                      <a:pt x="66" y="64"/>
                      <a:pt x="69" y="67"/>
                      <a:pt x="69" y="70"/>
                    </a:cubicBezTo>
                    <a:cubicBezTo>
                      <a:pt x="69" y="73"/>
                      <a:pt x="66" y="75"/>
                      <a:pt x="63" y="75"/>
                    </a:cubicBezTo>
                    <a:close/>
                    <a:moveTo>
                      <a:pt x="63" y="59"/>
                    </a:moveTo>
                    <a:cubicBezTo>
                      <a:pt x="60" y="59"/>
                      <a:pt x="57" y="57"/>
                      <a:pt x="57" y="54"/>
                    </a:cubicBezTo>
                    <a:cubicBezTo>
                      <a:pt x="57" y="51"/>
                      <a:pt x="60" y="48"/>
                      <a:pt x="63" y="48"/>
                    </a:cubicBezTo>
                    <a:cubicBezTo>
                      <a:pt x="66" y="48"/>
                      <a:pt x="69" y="51"/>
                      <a:pt x="69" y="54"/>
                    </a:cubicBezTo>
                    <a:cubicBezTo>
                      <a:pt x="69" y="57"/>
                      <a:pt x="66" y="59"/>
                      <a:pt x="63" y="59"/>
                    </a:cubicBezTo>
                    <a:close/>
                    <a:moveTo>
                      <a:pt x="63" y="44"/>
                    </a:moveTo>
                    <a:cubicBezTo>
                      <a:pt x="60" y="44"/>
                      <a:pt x="57" y="41"/>
                      <a:pt x="57" y="38"/>
                    </a:cubicBezTo>
                    <a:cubicBezTo>
                      <a:pt x="57" y="35"/>
                      <a:pt x="60" y="32"/>
                      <a:pt x="63" y="32"/>
                    </a:cubicBezTo>
                    <a:cubicBezTo>
                      <a:pt x="66" y="32"/>
                      <a:pt x="69" y="35"/>
                      <a:pt x="69" y="38"/>
                    </a:cubicBezTo>
                    <a:cubicBezTo>
                      <a:pt x="69" y="41"/>
                      <a:pt x="66" y="44"/>
                      <a:pt x="63" y="44"/>
                    </a:cubicBezTo>
                    <a:close/>
                    <a:moveTo>
                      <a:pt x="80" y="75"/>
                    </a:moveTo>
                    <a:cubicBezTo>
                      <a:pt x="77" y="75"/>
                      <a:pt x="75" y="73"/>
                      <a:pt x="75" y="70"/>
                    </a:cubicBezTo>
                    <a:cubicBezTo>
                      <a:pt x="75" y="67"/>
                      <a:pt x="77" y="64"/>
                      <a:pt x="80" y="64"/>
                    </a:cubicBezTo>
                    <a:cubicBezTo>
                      <a:pt x="83" y="64"/>
                      <a:pt x="86" y="67"/>
                      <a:pt x="86" y="70"/>
                    </a:cubicBezTo>
                    <a:cubicBezTo>
                      <a:pt x="86" y="73"/>
                      <a:pt x="83" y="75"/>
                      <a:pt x="80" y="75"/>
                    </a:cubicBezTo>
                    <a:close/>
                    <a:moveTo>
                      <a:pt x="80" y="59"/>
                    </a:moveTo>
                    <a:cubicBezTo>
                      <a:pt x="77" y="59"/>
                      <a:pt x="75" y="57"/>
                      <a:pt x="75" y="54"/>
                    </a:cubicBezTo>
                    <a:cubicBezTo>
                      <a:pt x="75" y="51"/>
                      <a:pt x="77" y="48"/>
                      <a:pt x="80" y="48"/>
                    </a:cubicBezTo>
                    <a:cubicBezTo>
                      <a:pt x="83" y="48"/>
                      <a:pt x="86" y="51"/>
                      <a:pt x="86" y="54"/>
                    </a:cubicBezTo>
                    <a:cubicBezTo>
                      <a:pt x="86" y="57"/>
                      <a:pt x="83" y="59"/>
                      <a:pt x="80" y="59"/>
                    </a:cubicBezTo>
                    <a:close/>
                    <a:moveTo>
                      <a:pt x="80" y="44"/>
                    </a:moveTo>
                    <a:cubicBezTo>
                      <a:pt x="77" y="44"/>
                      <a:pt x="75" y="41"/>
                      <a:pt x="75" y="38"/>
                    </a:cubicBezTo>
                    <a:cubicBezTo>
                      <a:pt x="75" y="35"/>
                      <a:pt x="77" y="32"/>
                      <a:pt x="80" y="32"/>
                    </a:cubicBezTo>
                    <a:cubicBezTo>
                      <a:pt x="83" y="32"/>
                      <a:pt x="86" y="35"/>
                      <a:pt x="86" y="38"/>
                    </a:cubicBezTo>
                    <a:cubicBezTo>
                      <a:pt x="86" y="41"/>
                      <a:pt x="83" y="44"/>
                      <a:pt x="80" y="44"/>
                    </a:cubicBezTo>
                    <a:close/>
                    <a:moveTo>
                      <a:pt x="83" y="24"/>
                    </a:moveTo>
                    <a:cubicBezTo>
                      <a:pt x="77" y="24"/>
                      <a:pt x="71" y="24"/>
                      <a:pt x="65" y="24"/>
                    </a:cubicBezTo>
                    <a:cubicBezTo>
                      <a:pt x="58" y="24"/>
                      <a:pt x="50" y="24"/>
                      <a:pt x="42" y="24"/>
                    </a:cubicBezTo>
                    <a:cubicBezTo>
                      <a:pt x="39" y="24"/>
                      <a:pt x="38" y="23"/>
                      <a:pt x="38" y="20"/>
                    </a:cubicBezTo>
                    <a:cubicBezTo>
                      <a:pt x="39" y="6"/>
                      <a:pt x="36" y="9"/>
                      <a:pt x="49" y="8"/>
                    </a:cubicBezTo>
                    <a:cubicBezTo>
                      <a:pt x="62" y="8"/>
                      <a:pt x="75" y="8"/>
                      <a:pt x="88" y="8"/>
                    </a:cubicBezTo>
                    <a:cubicBezTo>
                      <a:pt x="92" y="8"/>
                      <a:pt x="93" y="9"/>
                      <a:pt x="93" y="13"/>
                    </a:cubicBezTo>
                    <a:cubicBezTo>
                      <a:pt x="93" y="26"/>
                      <a:pt x="94" y="24"/>
                      <a:pt x="83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5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67" b="0" i="0" u="none" strike="noStrike" kern="1200" cap="none" spc="0" normalizeH="0" baseline="0" noProof="0" dirty="0">
                  <a:ln>
                    <a:noFill/>
                  </a:ln>
                  <a:solidFill>
                    <a:srgbClr val="676767"/>
                  </a:solidFill>
                  <a:effectLst/>
                  <a:uLnTx/>
                  <a:uFillTx/>
                  <a:latin typeface="CiscoSansTT ExtraLight"/>
                  <a:ea typeface="ＭＳ Ｐゴシック" charset="0"/>
                  <a:cs typeface="ＭＳ Ｐゴシック" charset="0"/>
                </a:endParaRPr>
              </a:p>
            </p:txBody>
          </p:sp>
        </p:grpSp>
        <p:grpSp>
          <p:nvGrpSpPr>
            <p:cNvPr id="32" name="Group 122">
              <a:extLst>
                <a:ext uri="{FF2B5EF4-FFF2-40B4-BE49-F238E27FC236}">
                  <a16:creationId xmlns:a16="http://schemas.microsoft.com/office/drawing/2014/main" id="{117AAD70-9CEA-8C4B-8F73-AE7E8B83E901}"/>
                </a:ext>
              </a:extLst>
            </p:cNvPr>
            <p:cNvGrpSpPr/>
            <p:nvPr/>
          </p:nvGrpSpPr>
          <p:grpSpPr>
            <a:xfrm>
              <a:off x="6270827" y="2365445"/>
              <a:ext cx="495862" cy="393066"/>
              <a:chOff x="4053191" y="2942045"/>
              <a:chExt cx="1058217" cy="682204"/>
            </a:xfrm>
            <a:grpFill/>
          </p:grpSpPr>
          <p:grpSp>
            <p:nvGrpSpPr>
              <p:cNvPr id="45" name="Group 135">
                <a:extLst>
                  <a:ext uri="{FF2B5EF4-FFF2-40B4-BE49-F238E27FC236}">
                    <a16:creationId xmlns:a16="http://schemas.microsoft.com/office/drawing/2014/main" id="{35ED8EA2-D992-D648-B1E3-E0582661ECF8}"/>
                  </a:ext>
                </a:extLst>
              </p:cNvPr>
              <p:cNvGrpSpPr/>
              <p:nvPr/>
            </p:nvGrpSpPr>
            <p:grpSpPr>
              <a:xfrm>
                <a:off x="4053191" y="2942045"/>
                <a:ext cx="1058217" cy="682204"/>
                <a:chOff x="2991950" y="3519826"/>
                <a:chExt cx="720404" cy="464425"/>
              </a:xfrm>
              <a:grpFill/>
            </p:grpSpPr>
            <p:sp>
              <p:nvSpPr>
                <p:cNvPr id="56" name="Freeform 75">
                  <a:extLst>
                    <a:ext uri="{FF2B5EF4-FFF2-40B4-BE49-F238E27FC236}">
                      <a16:creationId xmlns:a16="http://schemas.microsoft.com/office/drawing/2014/main" id="{91B2D894-3F3D-B745-8F25-E6470E6CCDD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91950" y="3853967"/>
                  <a:ext cx="720404" cy="130284"/>
                </a:xfrm>
                <a:custGeom>
                  <a:avLst/>
                  <a:gdLst/>
                  <a:ahLst/>
                  <a:cxnLst>
                    <a:cxn ang="0">
                      <a:pos x="0" y="85"/>
                    </a:cxn>
                    <a:cxn ang="0">
                      <a:pos x="54" y="0"/>
                    </a:cxn>
                    <a:cxn ang="0">
                      <a:pos x="418" y="0"/>
                    </a:cxn>
                    <a:cxn ang="0">
                      <a:pos x="470" y="85"/>
                    </a:cxn>
                    <a:cxn ang="0">
                      <a:pos x="0" y="85"/>
                    </a:cxn>
                  </a:cxnLst>
                  <a:rect l="0" t="0" r="r" b="b"/>
                  <a:pathLst>
                    <a:path w="470" h="85">
                      <a:moveTo>
                        <a:pt x="0" y="85"/>
                      </a:moveTo>
                      <a:lnTo>
                        <a:pt x="54" y="0"/>
                      </a:lnTo>
                      <a:lnTo>
                        <a:pt x="418" y="0"/>
                      </a:lnTo>
                      <a:lnTo>
                        <a:pt x="470" y="85"/>
                      </a:lnTo>
                      <a:lnTo>
                        <a:pt x="0" y="8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  <a:effectLst/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21915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67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76767"/>
                    </a:solidFill>
                    <a:effectLst/>
                    <a:uLnTx/>
                    <a:uFillTx/>
                    <a:latin typeface="CiscoSansTT ExtraLight"/>
                    <a:ea typeface="ＭＳ Ｐゴシック" charset="0"/>
                    <a:cs typeface="ＭＳ Ｐゴシック" charset="0"/>
                  </a:endParaRPr>
                </a:p>
              </p:txBody>
            </p:sp>
            <p:sp>
              <p:nvSpPr>
                <p:cNvPr id="57" name="Freeform 76">
                  <a:extLst>
                    <a:ext uri="{FF2B5EF4-FFF2-40B4-BE49-F238E27FC236}">
                      <a16:creationId xmlns:a16="http://schemas.microsoft.com/office/drawing/2014/main" id="{54C1B110-6060-2449-9010-C1C8D36391D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079319" y="3519826"/>
                  <a:ext cx="550267" cy="318815"/>
                </a:xfrm>
                <a:custGeom>
                  <a:avLst/>
                  <a:gdLst/>
                  <a:ahLst/>
                  <a:cxnLst>
                    <a:cxn ang="0">
                      <a:pos x="142" y="0"/>
                    </a:cxn>
                    <a:cxn ang="0">
                      <a:pos x="10" y="0"/>
                    </a:cxn>
                    <a:cxn ang="0">
                      <a:pos x="0" y="10"/>
                    </a:cxn>
                    <a:cxn ang="0">
                      <a:pos x="0" y="88"/>
                    </a:cxn>
                    <a:cxn ang="0">
                      <a:pos x="152" y="88"/>
                    </a:cxn>
                    <a:cxn ang="0">
                      <a:pos x="152" y="10"/>
                    </a:cxn>
                    <a:cxn ang="0">
                      <a:pos x="142" y="0"/>
                    </a:cxn>
                    <a:cxn ang="0">
                      <a:pos x="144" y="73"/>
                    </a:cxn>
                    <a:cxn ang="0">
                      <a:pos x="136" y="80"/>
                    </a:cxn>
                    <a:cxn ang="0">
                      <a:pos x="15" y="80"/>
                    </a:cxn>
                    <a:cxn ang="0">
                      <a:pos x="8" y="73"/>
                    </a:cxn>
                    <a:cxn ang="0">
                      <a:pos x="8" y="16"/>
                    </a:cxn>
                    <a:cxn ang="0">
                      <a:pos x="15" y="8"/>
                    </a:cxn>
                    <a:cxn ang="0">
                      <a:pos x="136" y="8"/>
                    </a:cxn>
                    <a:cxn ang="0">
                      <a:pos x="144" y="16"/>
                    </a:cxn>
                    <a:cxn ang="0">
                      <a:pos x="144" y="73"/>
                    </a:cxn>
                  </a:cxnLst>
                  <a:rect l="0" t="0" r="r" b="b"/>
                  <a:pathLst>
                    <a:path w="152" h="88">
                      <a:moveTo>
                        <a:pt x="142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4" y="0"/>
                        <a:pt x="0" y="5"/>
                        <a:pt x="0" y="10"/>
                      </a:cubicBezTo>
                      <a:cubicBezTo>
                        <a:pt x="0" y="88"/>
                        <a:pt x="0" y="88"/>
                        <a:pt x="0" y="88"/>
                      </a:cubicBezTo>
                      <a:cubicBezTo>
                        <a:pt x="152" y="88"/>
                        <a:pt x="152" y="88"/>
                        <a:pt x="152" y="88"/>
                      </a:cubicBezTo>
                      <a:cubicBezTo>
                        <a:pt x="152" y="10"/>
                        <a:pt x="152" y="10"/>
                        <a:pt x="152" y="10"/>
                      </a:cubicBezTo>
                      <a:cubicBezTo>
                        <a:pt x="152" y="5"/>
                        <a:pt x="147" y="0"/>
                        <a:pt x="142" y="0"/>
                      </a:cubicBezTo>
                      <a:close/>
                      <a:moveTo>
                        <a:pt x="144" y="73"/>
                      </a:moveTo>
                      <a:cubicBezTo>
                        <a:pt x="144" y="77"/>
                        <a:pt x="140" y="80"/>
                        <a:pt x="136" y="80"/>
                      </a:cubicBezTo>
                      <a:cubicBezTo>
                        <a:pt x="15" y="80"/>
                        <a:pt x="15" y="80"/>
                        <a:pt x="15" y="80"/>
                      </a:cubicBezTo>
                      <a:cubicBezTo>
                        <a:pt x="11" y="80"/>
                        <a:pt x="8" y="77"/>
                        <a:pt x="8" y="73"/>
                      </a:cubicBezTo>
                      <a:cubicBezTo>
                        <a:pt x="8" y="16"/>
                        <a:pt x="8" y="16"/>
                        <a:pt x="8" y="16"/>
                      </a:cubicBezTo>
                      <a:cubicBezTo>
                        <a:pt x="8" y="12"/>
                        <a:pt x="11" y="8"/>
                        <a:pt x="15" y="8"/>
                      </a:cubicBezTo>
                      <a:cubicBezTo>
                        <a:pt x="136" y="8"/>
                        <a:pt x="136" y="8"/>
                        <a:pt x="136" y="8"/>
                      </a:cubicBezTo>
                      <a:cubicBezTo>
                        <a:pt x="140" y="8"/>
                        <a:pt x="144" y="12"/>
                        <a:pt x="144" y="16"/>
                      </a:cubicBezTo>
                      <a:lnTo>
                        <a:pt x="144" y="73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  <a:effectLst/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21915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67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76767"/>
                    </a:solidFill>
                    <a:effectLst/>
                    <a:uLnTx/>
                    <a:uFillTx/>
                    <a:latin typeface="CiscoSansTT ExtraLight"/>
                    <a:ea typeface="ＭＳ Ｐゴシック" charset="0"/>
                    <a:cs typeface="ＭＳ Ｐゴシック" charset="0"/>
                  </a:endParaRPr>
                </a:p>
              </p:txBody>
            </p:sp>
          </p:grpSp>
          <p:grpSp>
            <p:nvGrpSpPr>
              <p:cNvPr id="46" name="Group 136">
                <a:extLst>
                  <a:ext uri="{FF2B5EF4-FFF2-40B4-BE49-F238E27FC236}">
                    <a16:creationId xmlns:a16="http://schemas.microsoft.com/office/drawing/2014/main" id="{9B28A068-6D19-A44F-960F-F9846CF5E18F}"/>
                  </a:ext>
                </a:extLst>
              </p:cNvPr>
              <p:cNvGrpSpPr/>
              <p:nvPr/>
            </p:nvGrpSpPr>
            <p:grpSpPr>
              <a:xfrm>
                <a:off x="4262511" y="3055829"/>
                <a:ext cx="623457" cy="252115"/>
                <a:chOff x="4262511" y="3055829"/>
                <a:chExt cx="623457" cy="252115"/>
              </a:xfrm>
              <a:grpFill/>
            </p:grpSpPr>
            <p:grpSp>
              <p:nvGrpSpPr>
                <p:cNvPr id="47" name="Group 137">
                  <a:extLst>
                    <a:ext uri="{FF2B5EF4-FFF2-40B4-BE49-F238E27FC236}">
                      <a16:creationId xmlns:a16="http://schemas.microsoft.com/office/drawing/2014/main" id="{9794E700-2A92-D74F-8445-DEC5AC276AAB}"/>
                    </a:ext>
                  </a:extLst>
                </p:cNvPr>
                <p:cNvGrpSpPr/>
                <p:nvPr/>
              </p:nvGrpSpPr>
              <p:grpSpPr>
                <a:xfrm>
                  <a:off x="4438652" y="3055829"/>
                  <a:ext cx="266695" cy="252115"/>
                  <a:chOff x="3614368" y="4399777"/>
                  <a:chExt cx="293365" cy="277327"/>
                </a:xfrm>
                <a:grpFill/>
              </p:grpSpPr>
              <p:sp>
                <p:nvSpPr>
                  <p:cNvPr id="54" name="Oval 53">
                    <a:extLst>
                      <a:ext uri="{FF2B5EF4-FFF2-40B4-BE49-F238E27FC236}">
                        <a16:creationId xmlns:a16="http://schemas.microsoft.com/office/drawing/2014/main" id="{9DE29994-6648-754F-AF83-3C9623977596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3688640" y="4399777"/>
                    <a:ext cx="144821" cy="143629"/>
                  </a:xfrm>
                  <a:prstGeom prst="ellipse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1449853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67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676767"/>
                      </a:solidFill>
                      <a:effectLst/>
                      <a:uLnTx/>
                      <a:uFillTx/>
                      <a:latin typeface="CiscoSansTT ExtraLigh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5" name="Freeform 145">
                    <a:extLst>
                      <a:ext uri="{FF2B5EF4-FFF2-40B4-BE49-F238E27FC236}">
                        <a16:creationId xmlns:a16="http://schemas.microsoft.com/office/drawing/2014/main" id="{2D691863-E6B3-2749-BE73-F1A55F7CEC8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614368" y="4547129"/>
                    <a:ext cx="293365" cy="129975"/>
                  </a:xfrm>
                  <a:custGeom>
                    <a:avLst/>
                    <a:gdLst>
                      <a:gd name="T0" fmla="*/ 0 w 233"/>
                      <a:gd name="T1" fmla="*/ 103 h 103"/>
                      <a:gd name="T2" fmla="*/ 82 w 233"/>
                      <a:gd name="T3" fmla="*/ 0 h 103"/>
                      <a:gd name="T4" fmla="*/ 117 w 233"/>
                      <a:gd name="T5" fmla="*/ 39 h 103"/>
                      <a:gd name="T6" fmla="*/ 151 w 233"/>
                      <a:gd name="T7" fmla="*/ 0 h 103"/>
                      <a:gd name="T8" fmla="*/ 233 w 233"/>
                      <a:gd name="T9" fmla="*/ 103 h 103"/>
                      <a:gd name="T10" fmla="*/ 0 w 233"/>
                      <a:gd name="T11" fmla="*/ 103 h 10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233" h="103">
                        <a:moveTo>
                          <a:pt x="0" y="103"/>
                        </a:moveTo>
                        <a:cubicBezTo>
                          <a:pt x="8" y="54"/>
                          <a:pt x="40" y="14"/>
                          <a:pt x="82" y="0"/>
                        </a:cubicBezTo>
                        <a:cubicBezTo>
                          <a:pt x="117" y="39"/>
                          <a:pt x="117" y="39"/>
                          <a:pt x="117" y="39"/>
                        </a:cubicBezTo>
                        <a:cubicBezTo>
                          <a:pt x="151" y="0"/>
                          <a:pt x="151" y="0"/>
                          <a:pt x="151" y="0"/>
                        </a:cubicBezTo>
                        <a:cubicBezTo>
                          <a:pt x="193" y="14"/>
                          <a:pt x="225" y="54"/>
                          <a:pt x="233" y="103"/>
                        </a:cubicBezTo>
                        <a:lnTo>
                          <a:pt x="0" y="103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1449853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67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676767"/>
                      </a:solidFill>
                      <a:effectLst/>
                      <a:uLnTx/>
                      <a:uFillTx/>
                      <a:latin typeface="CiscoSansTT ExtraLight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48" name="Group 138">
                  <a:extLst>
                    <a:ext uri="{FF2B5EF4-FFF2-40B4-BE49-F238E27FC236}">
                      <a16:creationId xmlns:a16="http://schemas.microsoft.com/office/drawing/2014/main" id="{46837FB1-3299-7746-975F-4D70C64B0DE2}"/>
                    </a:ext>
                  </a:extLst>
                </p:cNvPr>
                <p:cNvGrpSpPr/>
                <p:nvPr/>
              </p:nvGrpSpPr>
              <p:grpSpPr>
                <a:xfrm>
                  <a:off x="4703812" y="3081499"/>
                  <a:ext cx="182156" cy="172197"/>
                  <a:chOff x="3614368" y="4399777"/>
                  <a:chExt cx="293365" cy="277327"/>
                </a:xfrm>
                <a:grpFill/>
              </p:grpSpPr>
              <p:sp>
                <p:nvSpPr>
                  <p:cNvPr id="52" name="Oval 51">
                    <a:extLst>
                      <a:ext uri="{FF2B5EF4-FFF2-40B4-BE49-F238E27FC236}">
                        <a16:creationId xmlns:a16="http://schemas.microsoft.com/office/drawing/2014/main" id="{F49DC2EF-2BEC-9F43-9A13-D941BF1A288A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3688640" y="4399777"/>
                    <a:ext cx="144821" cy="143629"/>
                  </a:xfrm>
                  <a:prstGeom prst="ellipse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1449853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67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676767"/>
                      </a:solidFill>
                      <a:effectLst/>
                      <a:uLnTx/>
                      <a:uFillTx/>
                      <a:latin typeface="CiscoSansTT ExtraLigh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3" name="Freeform 143">
                    <a:extLst>
                      <a:ext uri="{FF2B5EF4-FFF2-40B4-BE49-F238E27FC236}">
                        <a16:creationId xmlns:a16="http://schemas.microsoft.com/office/drawing/2014/main" id="{13441632-3112-FB43-AD8D-5261D579F9E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614368" y="4547129"/>
                    <a:ext cx="293365" cy="129975"/>
                  </a:xfrm>
                  <a:custGeom>
                    <a:avLst/>
                    <a:gdLst>
                      <a:gd name="T0" fmla="*/ 0 w 233"/>
                      <a:gd name="T1" fmla="*/ 103 h 103"/>
                      <a:gd name="T2" fmla="*/ 82 w 233"/>
                      <a:gd name="T3" fmla="*/ 0 h 103"/>
                      <a:gd name="T4" fmla="*/ 117 w 233"/>
                      <a:gd name="T5" fmla="*/ 39 h 103"/>
                      <a:gd name="T6" fmla="*/ 151 w 233"/>
                      <a:gd name="T7" fmla="*/ 0 h 103"/>
                      <a:gd name="T8" fmla="*/ 233 w 233"/>
                      <a:gd name="T9" fmla="*/ 103 h 103"/>
                      <a:gd name="T10" fmla="*/ 0 w 233"/>
                      <a:gd name="T11" fmla="*/ 103 h 10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233" h="103">
                        <a:moveTo>
                          <a:pt x="0" y="103"/>
                        </a:moveTo>
                        <a:cubicBezTo>
                          <a:pt x="8" y="54"/>
                          <a:pt x="40" y="14"/>
                          <a:pt x="82" y="0"/>
                        </a:cubicBezTo>
                        <a:cubicBezTo>
                          <a:pt x="117" y="39"/>
                          <a:pt x="117" y="39"/>
                          <a:pt x="117" y="39"/>
                        </a:cubicBezTo>
                        <a:cubicBezTo>
                          <a:pt x="151" y="0"/>
                          <a:pt x="151" y="0"/>
                          <a:pt x="151" y="0"/>
                        </a:cubicBezTo>
                        <a:cubicBezTo>
                          <a:pt x="193" y="14"/>
                          <a:pt x="225" y="54"/>
                          <a:pt x="233" y="103"/>
                        </a:cubicBezTo>
                        <a:lnTo>
                          <a:pt x="0" y="103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1449853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67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676767"/>
                      </a:solidFill>
                      <a:effectLst/>
                      <a:uLnTx/>
                      <a:uFillTx/>
                      <a:latin typeface="CiscoSansTT ExtraLight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49" name="Group 139">
                  <a:extLst>
                    <a:ext uri="{FF2B5EF4-FFF2-40B4-BE49-F238E27FC236}">
                      <a16:creationId xmlns:a16="http://schemas.microsoft.com/office/drawing/2014/main" id="{730A81A2-A2FB-CC4C-BA72-815EFC0D3AFF}"/>
                    </a:ext>
                  </a:extLst>
                </p:cNvPr>
                <p:cNvGrpSpPr/>
                <p:nvPr/>
              </p:nvGrpSpPr>
              <p:grpSpPr>
                <a:xfrm>
                  <a:off x="4262511" y="3081499"/>
                  <a:ext cx="182156" cy="172197"/>
                  <a:chOff x="3614368" y="4399777"/>
                  <a:chExt cx="293365" cy="277327"/>
                </a:xfrm>
                <a:grpFill/>
              </p:grpSpPr>
              <p:sp>
                <p:nvSpPr>
                  <p:cNvPr id="50" name="Oval 49">
                    <a:extLst>
                      <a:ext uri="{FF2B5EF4-FFF2-40B4-BE49-F238E27FC236}">
                        <a16:creationId xmlns:a16="http://schemas.microsoft.com/office/drawing/2014/main" id="{C363413B-590A-EF4F-A17C-9124B675D97B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3688640" y="4399777"/>
                    <a:ext cx="144821" cy="143629"/>
                  </a:xfrm>
                  <a:prstGeom prst="ellipse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1449853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67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676767"/>
                      </a:solidFill>
                      <a:effectLst/>
                      <a:uLnTx/>
                      <a:uFillTx/>
                      <a:latin typeface="CiscoSansTT ExtraLigh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1" name="Freeform 141">
                    <a:extLst>
                      <a:ext uri="{FF2B5EF4-FFF2-40B4-BE49-F238E27FC236}">
                        <a16:creationId xmlns:a16="http://schemas.microsoft.com/office/drawing/2014/main" id="{4C6537E0-D204-8642-9B18-5CFC09B01DD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614368" y="4547129"/>
                    <a:ext cx="293365" cy="129975"/>
                  </a:xfrm>
                  <a:custGeom>
                    <a:avLst/>
                    <a:gdLst>
                      <a:gd name="T0" fmla="*/ 0 w 233"/>
                      <a:gd name="T1" fmla="*/ 103 h 103"/>
                      <a:gd name="T2" fmla="*/ 82 w 233"/>
                      <a:gd name="T3" fmla="*/ 0 h 103"/>
                      <a:gd name="T4" fmla="*/ 117 w 233"/>
                      <a:gd name="T5" fmla="*/ 39 h 103"/>
                      <a:gd name="T6" fmla="*/ 151 w 233"/>
                      <a:gd name="T7" fmla="*/ 0 h 103"/>
                      <a:gd name="T8" fmla="*/ 233 w 233"/>
                      <a:gd name="T9" fmla="*/ 103 h 103"/>
                      <a:gd name="T10" fmla="*/ 0 w 233"/>
                      <a:gd name="T11" fmla="*/ 103 h 10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233" h="103">
                        <a:moveTo>
                          <a:pt x="0" y="103"/>
                        </a:moveTo>
                        <a:cubicBezTo>
                          <a:pt x="8" y="54"/>
                          <a:pt x="40" y="14"/>
                          <a:pt x="82" y="0"/>
                        </a:cubicBezTo>
                        <a:cubicBezTo>
                          <a:pt x="117" y="39"/>
                          <a:pt x="117" y="39"/>
                          <a:pt x="117" y="39"/>
                        </a:cubicBezTo>
                        <a:cubicBezTo>
                          <a:pt x="151" y="0"/>
                          <a:pt x="151" y="0"/>
                          <a:pt x="151" y="0"/>
                        </a:cubicBezTo>
                        <a:cubicBezTo>
                          <a:pt x="193" y="14"/>
                          <a:pt x="225" y="54"/>
                          <a:pt x="233" y="103"/>
                        </a:cubicBezTo>
                        <a:lnTo>
                          <a:pt x="0" y="103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1449853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67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676767"/>
                      </a:solidFill>
                      <a:effectLst/>
                      <a:uLnTx/>
                      <a:uFillTx/>
                      <a:latin typeface="CiscoSansTT ExtraLight"/>
                      <a:ea typeface="+mn-ea"/>
                      <a:cs typeface="+mn-cs"/>
                    </a:endParaRPr>
                  </a:p>
                </p:txBody>
              </p:sp>
            </p:grpSp>
          </p:grpSp>
        </p:grpSp>
        <p:sp>
          <p:nvSpPr>
            <p:cNvPr id="33" name="Freeform 16">
              <a:extLst>
                <a:ext uri="{FF2B5EF4-FFF2-40B4-BE49-F238E27FC236}">
                  <a16:creationId xmlns:a16="http://schemas.microsoft.com/office/drawing/2014/main" id="{E9BF81B0-6DE0-5A4A-BF72-9DE292A9E55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66692" y="2117451"/>
              <a:ext cx="345489" cy="316467"/>
            </a:xfrm>
            <a:custGeom>
              <a:avLst/>
              <a:gdLst>
                <a:gd name="T0" fmla="*/ 28 w 657"/>
                <a:gd name="T1" fmla="*/ 72 h 555"/>
                <a:gd name="T2" fmla="*/ 0 w 657"/>
                <a:gd name="T3" fmla="*/ 439 h 555"/>
                <a:gd name="T4" fmla="*/ 172 w 657"/>
                <a:gd name="T5" fmla="*/ 466 h 555"/>
                <a:gd name="T6" fmla="*/ 200 w 657"/>
                <a:gd name="T7" fmla="*/ 100 h 555"/>
                <a:gd name="T8" fmla="*/ 100 w 657"/>
                <a:gd name="T9" fmla="*/ 89 h 555"/>
                <a:gd name="T10" fmla="*/ 100 w 657"/>
                <a:gd name="T11" fmla="*/ 96 h 555"/>
                <a:gd name="T12" fmla="*/ 100 w 657"/>
                <a:gd name="T13" fmla="*/ 89 h 555"/>
                <a:gd name="T14" fmla="*/ 116 w 657"/>
                <a:gd name="T15" fmla="*/ 106 h 555"/>
                <a:gd name="T16" fmla="*/ 116 w 657"/>
                <a:gd name="T17" fmla="*/ 113 h 555"/>
                <a:gd name="T18" fmla="*/ 81 w 657"/>
                <a:gd name="T19" fmla="*/ 109 h 555"/>
                <a:gd name="T20" fmla="*/ 100 w 657"/>
                <a:gd name="T21" fmla="*/ 450 h 555"/>
                <a:gd name="T22" fmla="*/ 100 w 657"/>
                <a:gd name="T23" fmla="*/ 425 h 555"/>
                <a:gd name="T24" fmla="*/ 100 w 657"/>
                <a:gd name="T25" fmla="*/ 450 h 555"/>
                <a:gd name="T26" fmla="*/ 13 w 657"/>
                <a:gd name="T27" fmla="*/ 409 h 555"/>
                <a:gd name="T28" fmla="*/ 186 w 657"/>
                <a:gd name="T29" fmla="*/ 131 h 555"/>
                <a:gd name="T30" fmla="*/ 571 w 657"/>
                <a:gd name="T31" fmla="*/ 356 h 555"/>
                <a:gd name="T32" fmla="*/ 551 w 657"/>
                <a:gd name="T33" fmla="*/ 0 h 555"/>
                <a:gd name="T34" fmla="*/ 222 w 657"/>
                <a:gd name="T35" fmla="*/ 20 h 555"/>
                <a:gd name="T36" fmla="*/ 241 w 657"/>
                <a:gd name="T37" fmla="*/ 467 h 555"/>
                <a:gd name="T38" fmla="*/ 488 w 657"/>
                <a:gd name="T39" fmla="*/ 460 h 555"/>
                <a:gd name="T40" fmla="*/ 260 w 657"/>
                <a:gd name="T41" fmla="*/ 433 h 555"/>
                <a:gd name="T42" fmla="*/ 255 w 657"/>
                <a:gd name="T43" fmla="*/ 38 h 555"/>
                <a:gd name="T44" fmla="*/ 533 w 657"/>
                <a:gd name="T45" fmla="*/ 34 h 555"/>
                <a:gd name="T46" fmla="*/ 537 w 657"/>
                <a:gd name="T47" fmla="*/ 331 h 555"/>
                <a:gd name="T48" fmla="*/ 546 w 657"/>
                <a:gd name="T49" fmla="*/ 360 h 555"/>
                <a:gd name="T50" fmla="*/ 603 w 657"/>
                <a:gd name="T51" fmla="*/ 308 h 555"/>
                <a:gd name="T52" fmla="*/ 582 w 657"/>
                <a:gd name="T53" fmla="*/ 285 h 555"/>
                <a:gd name="T54" fmla="*/ 626 w 657"/>
                <a:gd name="T55" fmla="*/ 275 h 555"/>
                <a:gd name="T56" fmla="*/ 651 w 657"/>
                <a:gd name="T57" fmla="*/ 340 h 555"/>
                <a:gd name="T58" fmla="*/ 655 w 657"/>
                <a:gd name="T59" fmla="*/ 373 h 555"/>
                <a:gd name="T60" fmla="*/ 624 w 657"/>
                <a:gd name="T61" fmla="*/ 455 h 555"/>
                <a:gd name="T62" fmla="*/ 612 w 657"/>
                <a:gd name="T63" fmla="*/ 548 h 555"/>
                <a:gd name="T64" fmla="*/ 517 w 657"/>
                <a:gd name="T65" fmla="*/ 555 h 555"/>
                <a:gd name="T66" fmla="*/ 507 w 657"/>
                <a:gd name="T67" fmla="*/ 487 h 555"/>
                <a:gd name="T68" fmla="*/ 478 w 657"/>
                <a:gd name="T69" fmla="*/ 375 h 555"/>
                <a:gd name="T70" fmla="*/ 495 w 657"/>
                <a:gd name="T71" fmla="*/ 282 h 555"/>
                <a:gd name="T72" fmla="*/ 535 w 657"/>
                <a:gd name="T73" fmla="*/ 361 h 555"/>
                <a:gd name="T74" fmla="*/ 583 w 657"/>
                <a:gd name="T75" fmla="*/ 360 h 555"/>
                <a:gd name="T76" fmla="*/ 597 w 657"/>
                <a:gd name="T77" fmla="*/ 331 h 555"/>
                <a:gd name="T78" fmla="*/ 399 w 657"/>
                <a:gd name="T79" fmla="*/ 278 h 555"/>
                <a:gd name="T80" fmla="*/ 399 w 657"/>
                <a:gd name="T81" fmla="*/ 321 h 555"/>
                <a:gd name="T82" fmla="*/ 399 w 657"/>
                <a:gd name="T83" fmla="*/ 278 h 555"/>
                <a:gd name="T84" fmla="*/ 455 w 657"/>
                <a:gd name="T85" fmla="*/ 243 h 555"/>
                <a:gd name="T86" fmla="*/ 442 w 657"/>
                <a:gd name="T87" fmla="*/ 275 h 555"/>
                <a:gd name="T88" fmla="*/ 399 w 657"/>
                <a:gd name="T89" fmla="*/ 250 h 555"/>
                <a:gd name="T90" fmla="*/ 356 w 657"/>
                <a:gd name="T91" fmla="*/ 275 h 555"/>
                <a:gd name="T92" fmla="*/ 343 w 657"/>
                <a:gd name="T93" fmla="*/ 243 h 555"/>
                <a:gd name="T94" fmla="*/ 476 w 657"/>
                <a:gd name="T95" fmla="*/ 225 h 555"/>
                <a:gd name="T96" fmla="*/ 494 w 657"/>
                <a:gd name="T97" fmla="*/ 200 h 555"/>
                <a:gd name="T98" fmla="*/ 304 w 657"/>
                <a:gd name="T99" fmla="*/ 200 h 555"/>
                <a:gd name="T100" fmla="*/ 321 w 657"/>
                <a:gd name="T101" fmla="*/ 225 h 555"/>
                <a:gd name="T102" fmla="*/ 399 w 657"/>
                <a:gd name="T103" fmla="*/ 192 h 555"/>
                <a:gd name="T104" fmla="*/ 476 w 657"/>
                <a:gd name="T105" fmla="*/ 225 h 5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57" h="555">
                  <a:moveTo>
                    <a:pt x="172" y="72"/>
                  </a:moveTo>
                  <a:cubicBezTo>
                    <a:pt x="28" y="72"/>
                    <a:pt x="28" y="72"/>
                    <a:pt x="28" y="72"/>
                  </a:cubicBezTo>
                  <a:cubicBezTo>
                    <a:pt x="13" y="72"/>
                    <a:pt x="0" y="85"/>
                    <a:pt x="0" y="100"/>
                  </a:cubicBezTo>
                  <a:cubicBezTo>
                    <a:pt x="0" y="439"/>
                    <a:pt x="0" y="439"/>
                    <a:pt x="0" y="439"/>
                  </a:cubicBezTo>
                  <a:cubicBezTo>
                    <a:pt x="0" y="454"/>
                    <a:pt x="13" y="466"/>
                    <a:pt x="28" y="466"/>
                  </a:cubicBezTo>
                  <a:cubicBezTo>
                    <a:pt x="172" y="466"/>
                    <a:pt x="172" y="466"/>
                    <a:pt x="172" y="466"/>
                  </a:cubicBezTo>
                  <a:cubicBezTo>
                    <a:pt x="188" y="466"/>
                    <a:pt x="200" y="454"/>
                    <a:pt x="200" y="439"/>
                  </a:cubicBezTo>
                  <a:cubicBezTo>
                    <a:pt x="200" y="100"/>
                    <a:pt x="200" y="100"/>
                    <a:pt x="200" y="100"/>
                  </a:cubicBezTo>
                  <a:cubicBezTo>
                    <a:pt x="200" y="85"/>
                    <a:pt x="188" y="72"/>
                    <a:pt x="172" y="72"/>
                  </a:cubicBezTo>
                  <a:close/>
                  <a:moveTo>
                    <a:pt x="100" y="89"/>
                  </a:moveTo>
                  <a:cubicBezTo>
                    <a:pt x="102" y="89"/>
                    <a:pt x="104" y="90"/>
                    <a:pt x="104" y="92"/>
                  </a:cubicBezTo>
                  <a:cubicBezTo>
                    <a:pt x="104" y="94"/>
                    <a:pt x="102" y="96"/>
                    <a:pt x="100" y="96"/>
                  </a:cubicBezTo>
                  <a:cubicBezTo>
                    <a:pt x="98" y="96"/>
                    <a:pt x="96" y="94"/>
                    <a:pt x="96" y="92"/>
                  </a:cubicBezTo>
                  <a:cubicBezTo>
                    <a:pt x="96" y="90"/>
                    <a:pt x="98" y="89"/>
                    <a:pt x="100" y="89"/>
                  </a:cubicBezTo>
                  <a:close/>
                  <a:moveTo>
                    <a:pt x="84" y="106"/>
                  </a:moveTo>
                  <a:cubicBezTo>
                    <a:pt x="116" y="106"/>
                    <a:pt x="116" y="106"/>
                    <a:pt x="116" y="106"/>
                  </a:cubicBezTo>
                  <a:cubicBezTo>
                    <a:pt x="118" y="106"/>
                    <a:pt x="119" y="107"/>
                    <a:pt x="119" y="109"/>
                  </a:cubicBezTo>
                  <a:cubicBezTo>
                    <a:pt x="119" y="111"/>
                    <a:pt x="118" y="113"/>
                    <a:pt x="116" y="113"/>
                  </a:cubicBezTo>
                  <a:cubicBezTo>
                    <a:pt x="84" y="113"/>
                    <a:pt x="84" y="113"/>
                    <a:pt x="84" y="113"/>
                  </a:cubicBezTo>
                  <a:cubicBezTo>
                    <a:pt x="82" y="113"/>
                    <a:pt x="81" y="111"/>
                    <a:pt x="81" y="109"/>
                  </a:cubicBezTo>
                  <a:cubicBezTo>
                    <a:pt x="81" y="107"/>
                    <a:pt x="82" y="106"/>
                    <a:pt x="84" y="106"/>
                  </a:cubicBezTo>
                  <a:close/>
                  <a:moveTo>
                    <a:pt x="100" y="450"/>
                  </a:moveTo>
                  <a:cubicBezTo>
                    <a:pt x="93" y="450"/>
                    <a:pt x="88" y="444"/>
                    <a:pt x="88" y="438"/>
                  </a:cubicBezTo>
                  <a:cubicBezTo>
                    <a:pt x="88" y="431"/>
                    <a:pt x="93" y="425"/>
                    <a:pt x="100" y="425"/>
                  </a:cubicBezTo>
                  <a:cubicBezTo>
                    <a:pt x="107" y="425"/>
                    <a:pt x="113" y="431"/>
                    <a:pt x="113" y="438"/>
                  </a:cubicBezTo>
                  <a:cubicBezTo>
                    <a:pt x="113" y="444"/>
                    <a:pt x="107" y="450"/>
                    <a:pt x="100" y="450"/>
                  </a:cubicBezTo>
                  <a:close/>
                  <a:moveTo>
                    <a:pt x="186" y="409"/>
                  </a:moveTo>
                  <a:cubicBezTo>
                    <a:pt x="13" y="409"/>
                    <a:pt x="13" y="409"/>
                    <a:pt x="13" y="409"/>
                  </a:cubicBezTo>
                  <a:cubicBezTo>
                    <a:pt x="13" y="131"/>
                    <a:pt x="13" y="131"/>
                    <a:pt x="13" y="131"/>
                  </a:cubicBezTo>
                  <a:cubicBezTo>
                    <a:pt x="186" y="131"/>
                    <a:pt x="186" y="131"/>
                    <a:pt x="186" y="131"/>
                  </a:cubicBezTo>
                  <a:lnTo>
                    <a:pt x="186" y="409"/>
                  </a:lnTo>
                  <a:close/>
                  <a:moveTo>
                    <a:pt x="571" y="356"/>
                  </a:moveTo>
                  <a:cubicBezTo>
                    <a:pt x="571" y="20"/>
                    <a:pt x="571" y="20"/>
                    <a:pt x="571" y="20"/>
                  </a:cubicBezTo>
                  <a:cubicBezTo>
                    <a:pt x="571" y="9"/>
                    <a:pt x="562" y="0"/>
                    <a:pt x="551" y="0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231" y="0"/>
                    <a:pt x="222" y="9"/>
                    <a:pt x="222" y="20"/>
                  </a:cubicBezTo>
                  <a:cubicBezTo>
                    <a:pt x="222" y="447"/>
                    <a:pt x="222" y="447"/>
                    <a:pt x="222" y="447"/>
                  </a:cubicBezTo>
                  <a:cubicBezTo>
                    <a:pt x="222" y="458"/>
                    <a:pt x="231" y="467"/>
                    <a:pt x="241" y="467"/>
                  </a:cubicBezTo>
                  <a:cubicBezTo>
                    <a:pt x="488" y="467"/>
                    <a:pt x="488" y="467"/>
                    <a:pt x="488" y="467"/>
                  </a:cubicBezTo>
                  <a:cubicBezTo>
                    <a:pt x="488" y="460"/>
                    <a:pt x="488" y="460"/>
                    <a:pt x="488" y="460"/>
                  </a:cubicBezTo>
                  <a:cubicBezTo>
                    <a:pt x="478" y="433"/>
                    <a:pt x="478" y="433"/>
                    <a:pt x="478" y="433"/>
                  </a:cubicBezTo>
                  <a:cubicBezTo>
                    <a:pt x="260" y="433"/>
                    <a:pt x="260" y="433"/>
                    <a:pt x="260" y="433"/>
                  </a:cubicBezTo>
                  <a:cubicBezTo>
                    <a:pt x="257" y="433"/>
                    <a:pt x="255" y="431"/>
                    <a:pt x="255" y="428"/>
                  </a:cubicBezTo>
                  <a:cubicBezTo>
                    <a:pt x="255" y="38"/>
                    <a:pt x="255" y="38"/>
                    <a:pt x="255" y="38"/>
                  </a:cubicBezTo>
                  <a:cubicBezTo>
                    <a:pt x="255" y="36"/>
                    <a:pt x="257" y="34"/>
                    <a:pt x="260" y="34"/>
                  </a:cubicBezTo>
                  <a:cubicBezTo>
                    <a:pt x="533" y="34"/>
                    <a:pt x="533" y="34"/>
                    <a:pt x="533" y="34"/>
                  </a:cubicBezTo>
                  <a:cubicBezTo>
                    <a:pt x="535" y="34"/>
                    <a:pt x="537" y="36"/>
                    <a:pt x="537" y="38"/>
                  </a:cubicBezTo>
                  <a:cubicBezTo>
                    <a:pt x="537" y="331"/>
                    <a:pt x="537" y="331"/>
                    <a:pt x="537" y="331"/>
                  </a:cubicBezTo>
                  <a:cubicBezTo>
                    <a:pt x="539" y="340"/>
                    <a:pt x="542" y="349"/>
                    <a:pt x="545" y="357"/>
                  </a:cubicBezTo>
                  <a:cubicBezTo>
                    <a:pt x="545" y="358"/>
                    <a:pt x="545" y="359"/>
                    <a:pt x="546" y="360"/>
                  </a:cubicBezTo>
                  <a:cubicBezTo>
                    <a:pt x="552" y="360"/>
                    <a:pt x="564" y="359"/>
                    <a:pt x="571" y="356"/>
                  </a:cubicBezTo>
                  <a:close/>
                  <a:moveTo>
                    <a:pt x="603" y="308"/>
                  </a:moveTo>
                  <a:cubicBezTo>
                    <a:pt x="604" y="306"/>
                    <a:pt x="604" y="305"/>
                    <a:pt x="602" y="304"/>
                  </a:cubicBezTo>
                  <a:cubicBezTo>
                    <a:pt x="598" y="302"/>
                    <a:pt x="587" y="293"/>
                    <a:pt x="582" y="285"/>
                  </a:cubicBezTo>
                  <a:cubicBezTo>
                    <a:pt x="582" y="237"/>
                    <a:pt x="582" y="237"/>
                    <a:pt x="582" y="237"/>
                  </a:cubicBezTo>
                  <a:cubicBezTo>
                    <a:pt x="597" y="248"/>
                    <a:pt x="611" y="263"/>
                    <a:pt x="626" y="275"/>
                  </a:cubicBezTo>
                  <a:cubicBezTo>
                    <a:pt x="634" y="282"/>
                    <a:pt x="636" y="287"/>
                    <a:pt x="639" y="293"/>
                  </a:cubicBezTo>
                  <a:cubicBezTo>
                    <a:pt x="643" y="308"/>
                    <a:pt x="648" y="324"/>
                    <a:pt x="651" y="340"/>
                  </a:cubicBezTo>
                  <a:cubicBezTo>
                    <a:pt x="652" y="343"/>
                    <a:pt x="653" y="346"/>
                    <a:pt x="654" y="349"/>
                  </a:cubicBezTo>
                  <a:cubicBezTo>
                    <a:pt x="656" y="358"/>
                    <a:pt x="657" y="363"/>
                    <a:pt x="655" y="373"/>
                  </a:cubicBezTo>
                  <a:cubicBezTo>
                    <a:pt x="654" y="379"/>
                    <a:pt x="651" y="384"/>
                    <a:pt x="649" y="390"/>
                  </a:cubicBezTo>
                  <a:cubicBezTo>
                    <a:pt x="624" y="455"/>
                    <a:pt x="624" y="455"/>
                    <a:pt x="624" y="455"/>
                  </a:cubicBezTo>
                  <a:cubicBezTo>
                    <a:pt x="616" y="476"/>
                    <a:pt x="612" y="488"/>
                    <a:pt x="612" y="511"/>
                  </a:cubicBezTo>
                  <a:cubicBezTo>
                    <a:pt x="612" y="548"/>
                    <a:pt x="612" y="548"/>
                    <a:pt x="612" y="548"/>
                  </a:cubicBezTo>
                  <a:cubicBezTo>
                    <a:pt x="612" y="552"/>
                    <a:pt x="613" y="554"/>
                    <a:pt x="608" y="555"/>
                  </a:cubicBezTo>
                  <a:cubicBezTo>
                    <a:pt x="517" y="555"/>
                    <a:pt x="517" y="555"/>
                    <a:pt x="517" y="555"/>
                  </a:cubicBezTo>
                  <a:cubicBezTo>
                    <a:pt x="512" y="555"/>
                    <a:pt x="512" y="553"/>
                    <a:pt x="512" y="548"/>
                  </a:cubicBezTo>
                  <a:cubicBezTo>
                    <a:pt x="512" y="525"/>
                    <a:pt x="511" y="502"/>
                    <a:pt x="507" y="487"/>
                  </a:cubicBezTo>
                  <a:cubicBezTo>
                    <a:pt x="500" y="463"/>
                    <a:pt x="491" y="438"/>
                    <a:pt x="483" y="415"/>
                  </a:cubicBezTo>
                  <a:cubicBezTo>
                    <a:pt x="479" y="404"/>
                    <a:pt x="479" y="388"/>
                    <a:pt x="478" y="375"/>
                  </a:cubicBezTo>
                  <a:cubicBezTo>
                    <a:pt x="476" y="329"/>
                    <a:pt x="476" y="329"/>
                    <a:pt x="476" y="329"/>
                  </a:cubicBezTo>
                  <a:cubicBezTo>
                    <a:pt x="475" y="311"/>
                    <a:pt x="470" y="284"/>
                    <a:pt x="495" y="282"/>
                  </a:cubicBezTo>
                  <a:cubicBezTo>
                    <a:pt x="518" y="281"/>
                    <a:pt x="522" y="303"/>
                    <a:pt x="523" y="319"/>
                  </a:cubicBezTo>
                  <a:cubicBezTo>
                    <a:pt x="527" y="332"/>
                    <a:pt x="530" y="348"/>
                    <a:pt x="535" y="361"/>
                  </a:cubicBezTo>
                  <a:cubicBezTo>
                    <a:pt x="536" y="366"/>
                    <a:pt x="538" y="370"/>
                    <a:pt x="543" y="370"/>
                  </a:cubicBezTo>
                  <a:cubicBezTo>
                    <a:pt x="554" y="371"/>
                    <a:pt x="575" y="369"/>
                    <a:pt x="583" y="360"/>
                  </a:cubicBezTo>
                  <a:cubicBezTo>
                    <a:pt x="588" y="354"/>
                    <a:pt x="591" y="347"/>
                    <a:pt x="594" y="341"/>
                  </a:cubicBezTo>
                  <a:cubicBezTo>
                    <a:pt x="596" y="337"/>
                    <a:pt x="597" y="336"/>
                    <a:pt x="597" y="331"/>
                  </a:cubicBezTo>
                  <a:cubicBezTo>
                    <a:pt x="598" y="325"/>
                    <a:pt x="599" y="314"/>
                    <a:pt x="603" y="308"/>
                  </a:cubicBezTo>
                  <a:close/>
                  <a:moveTo>
                    <a:pt x="399" y="278"/>
                  </a:moveTo>
                  <a:cubicBezTo>
                    <a:pt x="411" y="278"/>
                    <a:pt x="420" y="287"/>
                    <a:pt x="420" y="299"/>
                  </a:cubicBezTo>
                  <a:cubicBezTo>
                    <a:pt x="420" y="311"/>
                    <a:pt x="411" y="321"/>
                    <a:pt x="399" y="321"/>
                  </a:cubicBezTo>
                  <a:cubicBezTo>
                    <a:pt x="387" y="321"/>
                    <a:pt x="377" y="311"/>
                    <a:pt x="377" y="299"/>
                  </a:cubicBezTo>
                  <a:cubicBezTo>
                    <a:pt x="377" y="287"/>
                    <a:pt x="387" y="278"/>
                    <a:pt x="399" y="278"/>
                  </a:cubicBezTo>
                  <a:close/>
                  <a:moveTo>
                    <a:pt x="399" y="220"/>
                  </a:moveTo>
                  <a:cubicBezTo>
                    <a:pt x="421" y="220"/>
                    <a:pt x="441" y="229"/>
                    <a:pt x="455" y="243"/>
                  </a:cubicBezTo>
                  <a:cubicBezTo>
                    <a:pt x="457" y="245"/>
                    <a:pt x="459" y="247"/>
                    <a:pt x="460" y="249"/>
                  </a:cubicBezTo>
                  <a:cubicBezTo>
                    <a:pt x="442" y="275"/>
                    <a:pt x="442" y="275"/>
                    <a:pt x="442" y="275"/>
                  </a:cubicBezTo>
                  <a:cubicBezTo>
                    <a:pt x="439" y="271"/>
                    <a:pt x="437" y="268"/>
                    <a:pt x="434" y="265"/>
                  </a:cubicBezTo>
                  <a:cubicBezTo>
                    <a:pt x="425" y="256"/>
                    <a:pt x="412" y="250"/>
                    <a:pt x="399" y="250"/>
                  </a:cubicBezTo>
                  <a:cubicBezTo>
                    <a:pt x="385" y="250"/>
                    <a:pt x="373" y="256"/>
                    <a:pt x="364" y="265"/>
                  </a:cubicBezTo>
                  <a:cubicBezTo>
                    <a:pt x="361" y="268"/>
                    <a:pt x="358" y="271"/>
                    <a:pt x="356" y="275"/>
                  </a:cubicBezTo>
                  <a:cubicBezTo>
                    <a:pt x="338" y="249"/>
                    <a:pt x="338" y="249"/>
                    <a:pt x="338" y="249"/>
                  </a:cubicBezTo>
                  <a:cubicBezTo>
                    <a:pt x="339" y="247"/>
                    <a:pt x="341" y="245"/>
                    <a:pt x="343" y="243"/>
                  </a:cubicBezTo>
                  <a:cubicBezTo>
                    <a:pt x="357" y="229"/>
                    <a:pt x="377" y="220"/>
                    <a:pt x="399" y="220"/>
                  </a:cubicBezTo>
                  <a:close/>
                  <a:moveTo>
                    <a:pt x="476" y="225"/>
                  </a:moveTo>
                  <a:cubicBezTo>
                    <a:pt x="483" y="216"/>
                    <a:pt x="483" y="216"/>
                    <a:pt x="483" y="216"/>
                  </a:cubicBezTo>
                  <a:cubicBezTo>
                    <a:pt x="494" y="200"/>
                    <a:pt x="494" y="200"/>
                    <a:pt x="494" y="200"/>
                  </a:cubicBezTo>
                  <a:cubicBezTo>
                    <a:pt x="469" y="176"/>
                    <a:pt x="436" y="162"/>
                    <a:pt x="399" y="162"/>
                  </a:cubicBezTo>
                  <a:cubicBezTo>
                    <a:pt x="362" y="162"/>
                    <a:pt x="328" y="176"/>
                    <a:pt x="304" y="200"/>
                  </a:cubicBezTo>
                  <a:cubicBezTo>
                    <a:pt x="315" y="216"/>
                    <a:pt x="315" y="216"/>
                    <a:pt x="315" y="216"/>
                  </a:cubicBezTo>
                  <a:cubicBezTo>
                    <a:pt x="321" y="225"/>
                    <a:pt x="321" y="225"/>
                    <a:pt x="321" y="225"/>
                  </a:cubicBezTo>
                  <a:cubicBezTo>
                    <a:pt x="322" y="225"/>
                    <a:pt x="322" y="224"/>
                    <a:pt x="323" y="223"/>
                  </a:cubicBezTo>
                  <a:cubicBezTo>
                    <a:pt x="342" y="204"/>
                    <a:pt x="369" y="192"/>
                    <a:pt x="399" y="192"/>
                  </a:cubicBezTo>
                  <a:cubicBezTo>
                    <a:pt x="428" y="192"/>
                    <a:pt x="455" y="204"/>
                    <a:pt x="475" y="223"/>
                  </a:cubicBezTo>
                  <a:cubicBezTo>
                    <a:pt x="475" y="224"/>
                    <a:pt x="476" y="225"/>
                    <a:pt x="476" y="22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36" tIns="45719" rIns="91436" bIns="4571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0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67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ＭＳ Ｐゴシック" charset="0"/>
              </a:endParaRPr>
            </a:p>
          </p:txBody>
        </p:sp>
        <p:grpSp>
          <p:nvGrpSpPr>
            <p:cNvPr id="34" name="Group 124">
              <a:extLst>
                <a:ext uri="{FF2B5EF4-FFF2-40B4-BE49-F238E27FC236}">
                  <a16:creationId xmlns:a16="http://schemas.microsoft.com/office/drawing/2014/main" id="{0F1BCA07-84BB-8F4A-9101-ABBEBF1F3412}"/>
                </a:ext>
              </a:extLst>
            </p:cNvPr>
            <p:cNvGrpSpPr/>
            <p:nvPr/>
          </p:nvGrpSpPr>
          <p:grpSpPr>
            <a:xfrm>
              <a:off x="6330965" y="1793598"/>
              <a:ext cx="371130" cy="433738"/>
              <a:chOff x="-1002500" y="2584299"/>
              <a:chExt cx="657479" cy="676383"/>
            </a:xfrm>
            <a:grpFill/>
          </p:grpSpPr>
          <p:sp>
            <p:nvSpPr>
              <p:cNvPr id="35" name="Freeform 766">
                <a:extLst>
                  <a:ext uri="{FF2B5EF4-FFF2-40B4-BE49-F238E27FC236}">
                    <a16:creationId xmlns:a16="http://schemas.microsoft.com/office/drawing/2014/main" id="{4CAEF22D-B013-C448-951E-F1B33E6E41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838948" y="3178905"/>
                <a:ext cx="327102" cy="81777"/>
              </a:xfrm>
              <a:custGeom>
                <a:avLst/>
                <a:gdLst>
                  <a:gd name="T0" fmla="*/ 0 w 64"/>
                  <a:gd name="T1" fmla="*/ 9 h 16"/>
                  <a:gd name="T2" fmla="*/ 0 w 64"/>
                  <a:gd name="T3" fmla="*/ 16 h 16"/>
                  <a:gd name="T4" fmla="*/ 64 w 64"/>
                  <a:gd name="T5" fmla="*/ 16 h 16"/>
                  <a:gd name="T6" fmla="*/ 64 w 64"/>
                  <a:gd name="T7" fmla="*/ 9 h 16"/>
                  <a:gd name="T8" fmla="*/ 32 w 64"/>
                  <a:gd name="T9" fmla="*/ 0 h 16"/>
                  <a:gd name="T10" fmla="*/ 0 w 64"/>
                  <a:gd name="T11" fmla="*/ 9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4" h="16">
                    <a:moveTo>
                      <a:pt x="0" y="9"/>
                    </a:moveTo>
                    <a:cubicBezTo>
                      <a:pt x="0" y="16"/>
                      <a:pt x="0" y="16"/>
                      <a:pt x="0" y="16"/>
                    </a:cubicBezTo>
                    <a:cubicBezTo>
                      <a:pt x="64" y="16"/>
                      <a:pt x="64" y="16"/>
                      <a:pt x="64" y="16"/>
                    </a:cubicBezTo>
                    <a:cubicBezTo>
                      <a:pt x="64" y="9"/>
                      <a:pt x="64" y="9"/>
                      <a:pt x="64" y="9"/>
                    </a:cubicBezTo>
                    <a:cubicBezTo>
                      <a:pt x="55" y="3"/>
                      <a:pt x="44" y="0"/>
                      <a:pt x="32" y="0"/>
                    </a:cubicBezTo>
                    <a:cubicBezTo>
                      <a:pt x="20" y="0"/>
                      <a:pt x="9" y="3"/>
                      <a:pt x="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5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67" b="0" i="0" u="none" strike="noStrike" kern="1200" cap="none" spc="0" normalizeH="0" baseline="0" noProof="0" dirty="0">
                  <a:ln>
                    <a:noFill/>
                  </a:ln>
                  <a:solidFill>
                    <a:srgbClr val="676767"/>
                  </a:solidFill>
                  <a:effectLst/>
                  <a:uLnTx/>
                  <a:uFillTx/>
                  <a:latin typeface="CiscoSansTT ExtraLight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36" name="Freeform 767">
                <a:extLst>
                  <a:ext uri="{FF2B5EF4-FFF2-40B4-BE49-F238E27FC236}">
                    <a16:creationId xmlns:a16="http://schemas.microsoft.com/office/drawing/2014/main" id="{1169E3D6-7834-2245-9555-FC46BF192DA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1002500" y="2584299"/>
                <a:ext cx="657479" cy="536450"/>
              </a:xfrm>
              <a:custGeom>
                <a:avLst/>
                <a:gdLst>
                  <a:gd name="T0" fmla="*/ 120 w 128"/>
                  <a:gd name="T1" fmla="*/ 0 h 104"/>
                  <a:gd name="T2" fmla="*/ 8 w 128"/>
                  <a:gd name="T3" fmla="*/ 0 h 104"/>
                  <a:gd name="T4" fmla="*/ 0 w 128"/>
                  <a:gd name="T5" fmla="*/ 8 h 104"/>
                  <a:gd name="T6" fmla="*/ 0 w 128"/>
                  <a:gd name="T7" fmla="*/ 96 h 104"/>
                  <a:gd name="T8" fmla="*/ 8 w 128"/>
                  <a:gd name="T9" fmla="*/ 104 h 104"/>
                  <a:gd name="T10" fmla="*/ 120 w 128"/>
                  <a:gd name="T11" fmla="*/ 104 h 104"/>
                  <a:gd name="T12" fmla="*/ 128 w 128"/>
                  <a:gd name="T13" fmla="*/ 96 h 104"/>
                  <a:gd name="T14" fmla="*/ 128 w 128"/>
                  <a:gd name="T15" fmla="*/ 8 h 104"/>
                  <a:gd name="T16" fmla="*/ 120 w 128"/>
                  <a:gd name="T17" fmla="*/ 0 h 104"/>
                  <a:gd name="T18" fmla="*/ 116 w 128"/>
                  <a:gd name="T19" fmla="*/ 92 h 104"/>
                  <a:gd name="T20" fmla="*/ 12 w 128"/>
                  <a:gd name="T21" fmla="*/ 92 h 104"/>
                  <a:gd name="T22" fmla="*/ 12 w 128"/>
                  <a:gd name="T23" fmla="*/ 12 h 104"/>
                  <a:gd name="T24" fmla="*/ 116 w 128"/>
                  <a:gd name="T25" fmla="*/ 12 h 104"/>
                  <a:gd name="T26" fmla="*/ 116 w 128"/>
                  <a:gd name="T27" fmla="*/ 92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8" h="104">
                    <a:moveTo>
                      <a:pt x="120" y="0"/>
                    </a:moveTo>
                    <a:cubicBezTo>
                      <a:pt x="8" y="0"/>
                      <a:pt x="8" y="0"/>
                      <a:pt x="8" y="0"/>
                    </a:cubicBezTo>
                    <a:cubicBezTo>
                      <a:pt x="4" y="0"/>
                      <a:pt x="0" y="4"/>
                      <a:pt x="0" y="8"/>
                    </a:cubicBezTo>
                    <a:cubicBezTo>
                      <a:pt x="0" y="96"/>
                      <a:pt x="0" y="96"/>
                      <a:pt x="0" y="96"/>
                    </a:cubicBezTo>
                    <a:cubicBezTo>
                      <a:pt x="0" y="100"/>
                      <a:pt x="4" y="104"/>
                      <a:pt x="8" y="104"/>
                    </a:cubicBezTo>
                    <a:cubicBezTo>
                      <a:pt x="120" y="104"/>
                      <a:pt x="120" y="104"/>
                      <a:pt x="120" y="104"/>
                    </a:cubicBezTo>
                    <a:cubicBezTo>
                      <a:pt x="124" y="104"/>
                      <a:pt x="128" y="100"/>
                      <a:pt x="128" y="96"/>
                    </a:cubicBezTo>
                    <a:cubicBezTo>
                      <a:pt x="128" y="8"/>
                      <a:pt x="128" y="8"/>
                      <a:pt x="128" y="8"/>
                    </a:cubicBezTo>
                    <a:cubicBezTo>
                      <a:pt x="128" y="4"/>
                      <a:pt x="124" y="0"/>
                      <a:pt x="120" y="0"/>
                    </a:cubicBezTo>
                    <a:close/>
                    <a:moveTo>
                      <a:pt x="116" y="92"/>
                    </a:moveTo>
                    <a:cubicBezTo>
                      <a:pt x="12" y="92"/>
                      <a:pt x="12" y="92"/>
                      <a:pt x="12" y="92"/>
                    </a:cubicBezTo>
                    <a:cubicBezTo>
                      <a:pt x="12" y="12"/>
                      <a:pt x="12" y="12"/>
                      <a:pt x="12" y="12"/>
                    </a:cubicBezTo>
                    <a:cubicBezTo>
                      <a:pt x="116" y="12"/>
                      <a:pt x="116" y="12"/>
                      <a:pt x="116" y="12"/>
                    </a:cubicBezTo>
                    <a:lnTo>
                      <a:pt x="116" y="92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5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67" b="0" i="0" u="none" strike="noStrike" kern="1200" cap="none" spc="0" normalizeH="0" baseline="0" noProof="0" dirty="0">
                  <a:ln>
                    <a:noFill/>
                  </a:ln>
                  <a:solidFill>
                    <a:srgbClr val="676767"/>
                  </a:solidFill>
                  <a:effectLst/>
                  <a:uLnTx/>
                  <a:uFillTx/>
                  <a:latin typeface="CiscoSansTT ExtraLight"/>
                  <a:ea typeface="ＭＳ Ｐゴシック" charset="0"/>
                  <a:cs typeface="ＭＳ Ｐゴシック" charset="0"/>
                </a:endParaRPr>
              </a:p>
            </p:txBody>
          </p:sp>
          <p:grpSp>
            <p:nvGrpSpPr>
              <p:cNvPr id="37" name="Group 127">
                <a:extLst>
                  <a:ext uri="{FF2B5EF4-FFF2-40B4-BE49-F238E27FC236}">
                    <a16:creationId xmlns:a16="http://schemas.microsoft.com/office/drawing/2014/main" id="{230259F0-6515-4B48-B9A0-B4B8BCFBAB97}"/>
                  </a:ext>
                </a:extLst>
              </p:cNvPr>
              <p:cNvGrpSpPr/>
              <p:nvPr/>
            </p:nvGrpSpPr>
            <p:grpSpPr>
              <a:xfrm>
                <a:off x="-912604" y="2691840"/>
                <a:ext cx="472338" cy="278727"/>
                <a:chOff x="1189879" y="1473199"/>
                <a:chExt cx="1339955" cy="790709"/>
              </a:xfrm>
              <a:grpFill/>
            </p:grpSpPr>
            <p:grpSp>
              <p:nvGrpSpPr>
                <p:cNvPr id="38" name="Group 128">
                  <a:extLst>
                    <a:ext uri="{FF2B5EF4-FFF2-40B4-BE49-F238E27FC236}">
                      <a16:creationId xmlns:a16="http://schemas.microsoft.com/office/drawing/2014/main" id="{20441740-0F7F-7E44-B311-3CF140F74D92}"/>
                    </a:ext>
                  </a:extLst>
                </p:cNvPr>
                <p:cNvGrpSpPr/>
                <p:nvPr/>
              </p:nvGrpSpPr>
              <p:grpSpPr>
                <a:xfrm>
                  <a:off x="1566607" y="1473199"/>
                  <a:ext cx="963227" cy="790709"/>
                  <a:chOff x="1439609" y="4338771"/>
                  <a:chExt cx="319088" cy="261938"/>
                </a:xfrm>
                <a:grpFill/>
              </p:grpSpPr>
              <p:sp>
                <p:nvSpPr>
                  <p:cNvPr id="41" name="Freeform 1076">
                    <a:extLst>
                      <a:ext uri="{FF2B5EF4-FFF2-40B4-BE49-F238E27FC236}">
                        <a16:creationId xmlns:a16="http://schemas.microsoft.com/office/drawing/2014/main" id="{9D440C83-9C18-F14B-9B07-5EE066BF276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487234" y="4338771"/>
                    <a:ext cx="104775" cy="133350"/>
                  </a:xfrm>
                  <a:custGeom>
                    <a:avLst/>
                    <a:gdLst>
                      <a:gd name="T0" fmla="*/ 5 w 42"/>
                      <a:gd name="T1" fmla="*/ 41 h 53"/>
                      <a:gd name="T2" fmla="*/ 21 w 42"/>
                      <a:gd name="T3" fmla="*/ 53 h 53"/>
                      <a:gd name="T4" fmla="*/ 37 w 42"/>
                      <a:gd name="T5" fmla="*/ 41 h 53"/>
                      <a:gd name="T6" fmla="*/ 40 w 42"/>
                      <a:gd name="T7" fmla="*/ 29 h 53"/>
                      <a:gd name="T8" fmla="*/ 38 w 42"/>
                      <a:gd name="T9" fmla="*/ 11 h 53"/>
                      <a:gd name="T10" fmla="*/ 21 w 42"/>
                      <a:gd name="T11" fmla="*/ 0 h 53"/>
                      <a:gd name="T12" fmla="*/ 4 w 42"/>
                      <a:gd name="T13" fmla="*/ 11 h 53"/>
                      <a:gd name="T14" fmla="*/ 2 w 42"/>
                      <a:gd name="T15" fmla="*/ 29 h 53"/>
                      <a:gd name="T16" fmla="*/ 5 w 42"/>
                      <a:gd name="T17" fmla="*/ 41 h 5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42" h="53">
                        <a:moveTo>
                          <a:pt x="5" y="41"/>
                        </a:moveTo>
                        <a:cubicBezTo>
                          <a:pt x="7" y="48"/>
                          <a:pt x="14" y="53"/>
                          <a:pt x="21" y="53"/>
                        </a:cubicBezTo>
                        <a:cubicBezTo>
                          <a:pt x="28" y="53"/>
                          <a:pt x="35" y="48"/>
                          <a:pt x="37" y="41"/>
                        </a:cubicBezTo>
                        <a:cubicBezTo>
                          <a:pt x="40" y="29"/>
                          <a:pt x="40" y="29"/>
                          <a:pt x="40" y="29"/>
                        </a:cubicBezTo>
                        <a:cubicBezTo>
                          <a:pt x="42" y="23"/>
                          <a:pt x="41" y="16"/>
                          <a:pt x="38" y="11"/>
                        </a:cubicBezTo>
                        <a:cubicBezTo>
                          <a:pt x="35" y="4"/>
                          <a:pt x="28" y="0"/>
                          <a:pt x="21" y="0"/>
                        </a:cubicBezTo>
                        <a:cubicBezTo>
                          <a:pt x="14" y="0"/>
                          <a:pt x="7" y="4"/>
                          <a:pt x="4" y="11"/>
                        </a:cubicBezTo>
                        <a:cubicBezTo>
                          <a:pt x="1" y="16"/>
                          <a:pt x="0" y="23"/>
                          <a:pt x="2" y="29"/>
                        </a:cubicBezTo>
                        <a:lnTo>
                          <a:pt x="5" y="41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219154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67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iscoSansTT ExtraLight"/>
                      <a:ea typeface="ＭＳ Ｐゴシック" charset="0"/>
                      <a:cs typeface="ＭＳ Ｐゴシック" charset="0"/>
                    </a:endParaRPr>
                  </a:p>
                </p:txBody>
              </p:sp>
              <p:sp>
                <p:nvSpPr>
                  <p:cNvPr id="42" name="Freeform 1077">
                    <a:extLst>
                      <a:ext uri="{FF2B5EF4-FFF2-40B4-BE49-F238E27FC236}">
                        <a16:creationId xmlns:a16="http://schemas.microsoft.com/office/drawing/2014/main" id="{E5C4BE3E-432E-0844-BEF1-6652032FD05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439609" y="4500696"/>
                    <a:ext cx="198438" cy="100013"/>
                  </a:xfrm>
                  <a:custGeom>
                    <a:avLst/>
                    <a:gdLst>
                      <a:gd name="T0" fmla="*/ 39 w 80"/>
                      <a:gd name="T1" fmla="*/ 0 h 40"/>
                      <a:gd name="T2" fmla="*/ 3 w 80"/>
                      <a:gd name="T3" fmla="*/ 8 h 40"/>
                      <a:gd name="T4" fmla="*/ 0 w 80"/>
                      <a:gd name="T5" fmla="*/ 40 h 40"/>
                      <a:gd name="T6" fmla="*/ 80 w 80"/>
                      <a:gd name="T7" fmla="*/ 40 h 40"/>
                      <a:gd name="T8" fmla="*/ 77 w 80"/>
                      <a:gd name="T9" fmla="*/ 9 h 40"/>
                      <a:gd name="T10" fmla="*/ 39 w 80"/>
                      <a:gd name="T11" fmla="*/ 0 h 4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80" h="40">
                        <a:moveTo>
                          <a:pt x="39" y="0"/>
                        </a:moveTo>
                        <a:cubicBezTo>
                          <a:pt x="24" y="0"/>
                          <a:pt x="15" y="3"/>
                          <a:pt x="3" y="8"/>
                        </a:cubicBezTo>
                        <a:cubicBezTo>
                          <a:pt x="3" y="8"/>
                          <a:pt x="2" y="23"/>
                          <a:pt x="0" y="40"/>
                        </a:cubicBezTo>
                        <a:cubicBezTo>
                          <a:pt x="80" y="40"/>
                          <a:pt x="80" y="40"/>
                          <a:pt x="80" y="40"/>
                        </a:cubicBezTo>
                        <a:cubicBezTo>
                          <a:pt x="77" y="9"/>
                          <a:pt x="77" y="9"/>
                          <a:pt x="77" y="9"/>
                        </a:cubicBezTo>
                        <a:cubicBezTo>
                          <a:pt x="65" y="3"/>
                          <a:pt x="56" y="0"/>
                          <a:pt x="39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219154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67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iscoSansTT ExtraLight"/>
                      <a:ea typeface="ＭＳ Ｐゴシック" charset="0"/>
                      <a:cs typeface="ＭＳ Ｐゴシック" charset="0"/>
                    </a:endParaRPr>
                  </a:p>
                </p:txBody>
              </p:sp>
              <p:sp>
                <p:nvSpPr>
                  <p:cNvPr id="43" name="Freeform 1078">
                    <a:extLst>
                      <a:ext uri="{FF2B5EF4-FFF2-40B4-BE49-F238E27FC236}">
                        <a16:creationId xmlns:a16="http://schemas.microsoft.com/office/drawing/2014/main" id="{C096EA57-5853-7441-8B62-C0852EE4B0D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636459" y="4338771"/>
                    <a:ext cx="104775" cy="133350"/>
                  </a:xfrm>
                  <a:custGeom>
                    <a:avLst/>
                    <a:gdLst>
                      <a:gd name="T0" fmla="*/ 37 w 42"/>
                      <a:gd name="T1" fmla="*/ 41 h 53"/>
                      <a:gd name="T2" fmla="*/ 40 w 42"/>
                      <a:gd name="T3" fmla="*/ 29 h 53"/>
                      <a:gd name="T4" fmla="*/ 38 w 42"/>
                      <a:gd name="T5" fmla="*/ 11 h 53"/>
                      <a:gd name="T6" fmla="*/ 21 w 42"/>
                      <a:gd name="T7" fmla="*/ 0 h 53"/>
                      <a:gd name="T8" fmla="*/ 4 w 42"/>
                      <a:gd name="T9" fmla="*/ 11 h 53"/>
                      <a:gd name="T10" fmla="*/ 2 w 42"/>
                      <a:gd name="T11" fmla="*/ 29 h 53"/>
                      <a:gd name="T12" fmla="*/ 5 w 42"/>
                      <a:gd name="T13" fmla="*/ 41 h 53"/>
                      <a:gd name="T14" fmla="*/ 21 w 42"/>
                      <a:gd name="T15" fmla="*/ 53 h 53"/>
                      <a:gd name="T16" fmla="*/ 37 w 42"/>
                      <a:gd name="T17" fmla="*/ 41 h 5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42" h="53">
                        <a:moveTo>
                          <a:pt x="37" y="41"/>
                        </a:moveTo>
                        <a:cubicBezTo>
                          <a:pt x="40" y="29"/>
                          <a:pt x="40" y="29"/>
                          <a:pt x="40" y="29"/>
                        </a:cubicBezTo>
                        <a:cubicBezTo>
                          <a:pt x="42" y="23"/>
                          <a:pt x="41" y="16"/>
                          <a:pt x="38" y="11"/>
                        </a:cubicBezTo>
                        <a:cubicBezTo>
                          <a:pt x="35" y="4"/>
                          <a:pt x="28" y="0"/>
                          <a:pt x="21" y="0"/>
                        </a:cubicBezTo>
                        <a:cubicBezTo>
                          <a:pt x="14" y="0"/>
                          <a:pt x="7" y="4"/>
                          <a:pt x="4" y="11"/>
                        </a:cubicBezTo>
                        <a:cubicBezTo>
                          <a:pt x="1" y="16"/>
                          <a:pt x="0" y="23"/>
                          <a:pt x="2" y="29"/>
                        </a:cubicBezTo>
                        <a:cubicBezTo>
                          <a:pt x="5" y="41"/>
                          <a:pt x="5" y="41"/>
                          <a:pt x="5" y="41"/>
                        </a:cubicBezTo>
                        <a:cubicBezTo>
                          <a:pt x="7" y="48"/>
                          <a:pt x="14" y="53"/>
                          <a:pt x="21" y="53"/>
                        </a:cubicBezTo>
                        <a:cubicBezTo>
                          <a:pt x="28" y="53"/>
                          <a:pt x="35" y="48"/>
                          <a:pt x="37" y="41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219154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67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iscoSansTT ExtraLight"/>
                      <a:ea typeface="ＭＳ Ｐゴシック" charset="0"/>
                      <a:cs typeface="ＭＳ Ｐゴシック" charset="0"/>
                    </a:endParaRPr>
                  </a:p>
                </p:txBody>
              </p:sp>
              <p:sp>
                <p:nvSpPr>
                  <p:cNvPr id="44" name="Freeform 1079">
                    <a:extLst>
                      <a:ext uri="{FF2B5EF4-FFF2-40B4-BE49-F238E27FC236}">
                        <a16:creationId xmlns:a16="http://schemas.microsoft.com/office/drawing/2014/main" id="{C7974BB6-3EBE-5B42-A4D9-786DBFE1972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668209" y="4500696"/>
                    <a:ext cx="90488" cy="100013"/>
                  </a:xfrm>
                  <a:custGeom>
                    <a:avLst/>
                    <a:gdLst>
                      <a:gd name="T0" fmla="*/ 33 w 36"/>
                      <a:gd name="T1" fmla="*/ 9 h 40"/>
                      <a:gd name="T2" fmla="*/ 0 w 36"/>
                      <a:gd name="T3" fmla="*/ 0 h 40"/>
                      <a:gd name="T4" fmla="*/ 4 w 36"/>
                      <a:gd name="T5" fmla="*/ 40 h 40"/>
                      <a:gd name="T6" fmla="*/ 36 w 36"/>
                      <a:gd name="T7" fmla="*/ 40 h 40"/>
                      <a:gd name="T8" fmla="*/ 33 w 36"/>
                      <a:gd name="T9" fmla="*/ 9 h 4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6" h="40">
                        <a:moveTo>
                          <a:pt x="33" y="9"/>
                        </a:moveTo>
                        <a:cubicBezTo>
                          <a:pt x="22" y="4"/>
                          <a:pt x="14" y="1"/>
                          <a:pt x="0" y="0"/>
                        </a:cubicBezTo>
                        <a:cubicBezTo>
                          <a:pt x="4" y="40"/>
                          <a:pt x="4" y="40"/>
                          <a:pt x="4" y="40"/>
                        </a:cubicBezTo>
                        <a:cubicBezTo>
                          <a:pt x="36" y="40"/>
                          <a:pt x="36" y="40"/>
                          <a:pt x="36" y="40"/>
                        </a:cubicBezTo>
                        <a:lnTo>
                          <a:pt x="33" y="9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219154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67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iscoSansTT ExtraLight"/>
                      <a:ea typeface="ＭＳ Ｐゴシック" charset="0"/>
                      <a:cs typeface="ＭＳ Ｐゴシック" charset="0"/>
                    </a:endParaRPr>
                  </a:p>
                </p:txBody>
              </p:sp>
            </p:grpSp>
            <p:sp>
              <p:nvSpPr>
                <p:cNvPr id="39" name="Freeform 1078">
                  <a:extLst>
                    <a:ext uri="{FF2B5EF4-FFF2-40B4-BE49-F238E27FC236}">
                      <a16:creationId xmlns:a16="http://schemas.microsoft.com/office/drawing/2014/main" id="{2A29CC33-383B-AE43-B08B-E5DC932B8A2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63369" y="1473199"/>
                  <a:ext cx="316283" cy="402542"/>
                </a:xfrm>
                <a:custGeom>
                  <a:avLst/>
                  <a:gdLst>
                    <a:gd name="T0" fmla="*/ 37 w 42"/>
                    <a:gd name="T1" fmla="*/ 41 h 53"/>
                    <a:gd name="T2" fmla="*/ 40 w 42"/>
                    <a:gd name="T3" fmla="*/ 29 h 53"/>
                    <a:gd name="T4" fmla="*/ 38 w 42"/>
                    <a:gd name="T5" fmla="*/ 11 h 53"/>
                    <a:gd name="T6" fmla="*/ 21 w 42"/>
                    <a:gd name="T7" fmla="*/ 0 h 53"/>
                    <a:gd name="T8" fmla="*/ 4 w 42"/>
                    <a:gd name="T9" fmla="*/ 11 h 53"/>
                    <a:gd name="T10" fmla="*/ 2 w 42"/>
                    <a:gd name="T11" fmla="*/ 29 h 53"/>
                    <a:gd name="T12" fmla="*/ 5 w 42"/>
                    <a:gd name="T13" fmla="*/ 41 h 53"/>
                    <a:gd name="T14" fmla="*/ 21 w 42"/>
                    <a:gd name="T15" fmla="*/ 53 h 53"/>
                    <a:gd name="T16" fmla="*/ 37 w 42"/>
                    <a:gd name="T17" fmla="*/ 41 h 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2" h="53">
                      <a:moveTo>
                        <a:pt x="37" y="41"/>
                      </a:moveTo>
                      <a:cubicBezTo>
                        <a:pt x="40" y="29"/>
                        <a:pt x="40" y="29"/>
                        <a:pt x="40" y="29"/>
                      </a:cubicBezTo>
                      <a:cubicBezTo>
                        <a:pt x="42" y="23"/>
                        <a:pt x="41" y="16"/>
                        <a:pt x="38" y="11"/>
                      </a:cubicBezTo>
                      <a:cubicBezTo>
                        <a:pt x="35" y="4"/>
                        <a:pt x="28" y="0"/>
                        <a:pt x="21" y="0"/>
                      </a:cubicBezTo>
                      <a:cubicBezTo>
                        <a:pt x="14" y="0"/>
                        <a:pt x="7" y="4"/>
                        <a:pt x="4" y="11"/>
                      </a:cubicBezTo>
                      <a:cubicBezTo>
                        <a:pt x="1" y="16"/>
                        <a:pt x="0" y="23"/>
                        <a:pt x="2" y="29"/>
                      </a:cubicBezTo>
                      <a:cubicBezTo>
                        <a:pt x="5" y="41"/>
                        <a:pt x="5" y="41"/>
                        <a:pt x="5" y="41"/>
                      </a:cubicBezTo>
                      <a:cubicBezTo>
                        <a:pt x="7" y="48"/>
                        <a:pt x="14" y="53"/>
                        <a:pt x="21" y="53"/>
                      </a:cubicBezTo>
                      <a:cubicBezTo>
                        <a:pt x="28" y="53"/>
                        <a:pt x="35" y="48"/>
                        <a:pt x="37" y="4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21915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67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iscoSansTT ExtraLight"/>
                    <a:ea typeface="ＭＳ Ｐゴシック" charset="0"/>
                    <a:cs typeface="ＭＳ Ｐゴシック" charset="0"/>
                  </a:endParaRPr>
                </a:p>
              </p:txBody>
            </p:sp>
            <p:sp>
              <p:nvSpPr>
                <p:cNvPr id="40" name="Freeform 1079">
                  <a:extLst>
                    <a:ext uri="{FF2B5EF4-FFF2-40B4-BE49-F238E27FC236}">
                      <a16:creationId xmlns:a16="http://schemas.microsoft.com/office/drawing/2014/main" id="{6E41AB3D-12C0-CA4B-8812-DDCC5E87850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flipH="1">
                  <a:off x="1189879" y="1962000"/>
                  <a:ext cx="273155" cy="301908"/>
                </a:xfrm>
                <a:custGeom>
                  <a:avLst/>
                  <a:gdLst>
                    <a:gd name="T0" fmla="*/ 33 w 36"/>
                    <a:gd name="T1" fmla="*/ 9 h 40"/>
                    <a:gd name="T2" fmla="*/ 0 w 36"/>
                    <a:gd name="T3" fmla="*/ 0 h 40"/>
                    <a:gd name="T4" fmla="*/ 4 w 36"/>
                    <a:gd name="T5" fmla="*/ 40 h 40"/>
                    <a:gd name="T6" fmla="*/ 36 w 36"/>
                    <a:gd name="T7" fmla="*/ 40 h 40"/>
                    <a:gd name="T8" fmla="*/ 33 w 36"/>
                    <a:gd name="T9" fmla="*/ 9 h 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6" h="40">
                      <a:moveTo>
                        <a:pt x="33" y="9"/>
                      </a:moveTo>
                      <a:cubicBezTo>
                        <a:pt x="22" y="4"/>
                        <a:pt x="14" y="1"/>
                        <a:pt x="0" y="0"/>
                      </a:cubicBezTo>
                      <a:cubicBezTo>
                        <a:pt x="4" y="40"/>
                        <a:pt x="4" y="40"/>
                        <a:pt x="4" y="40"/>
                      </a:cubicBezTo>
                      <a:cubicBezTo>
                        <a:pt x="36" y="40"/>
                        <a:pt x="36" y="40"/>
                        <a:pt x="36" y="40"/>
                      </a:cubicBezTo>
                      <a:lnTo>
                        <a:pt x="33" y="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21915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67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iscoSansTT ExtraLight"/>
                    <a:ea typeface="ＭＳ Ｐゴシック" charset="0"/>
                    <a:cs typeface="ＭＳ Ｐゴシック" charset="0"/>
                  </a:endParaRPr>
                </a:p>
              </p:txBody>
            </p:sp>
          </p:grpSp>
        </p:grp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65668325-9884-F84E-B383-DAB669A921D0}"/>
              </a:ext>
            </a:extLst>
          </p:cNvPr>
          <p:cNvGrpSpPr/>
          <p:nvPr/>
        </p:nvGrpSpPr>
        <p:grpSpPr>
          <a:xfrm>
            <a:off x="5625070" y="2304658"/>
            <a:ext cx="908299" cy="831043"/>
            <a:chOff x="7128640" y="3740880"/>
            <a:chExt cx="941514" cy="940558"/>
          </a:xfrm>
        </p:grpSpPr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7214C161-E693-6849-8D39-03D83B8516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35888" y="3978642"/>
              <a:ext cx="115703" cy="11570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4572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2pPr>
              <a:lvl3pPr marL="9144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3pPr>
              <a:lvl4pPr marL="13716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4pPr>
              <a:lvl5pPr marL="18288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5pPr>
              <a:lvl6pPr marL="2286000" algn="l" defTabSz="4572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6pPr>
              <a:lvl7pPr marL="2743200" algn="l" defTabSz="4572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7pPr>
              <a:lvl8pPr marL="3200400" algn="l" defTabSz="4572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8pPr>
              <a:lvl9pPr marL="3657600" algn="l" defTabSz="4572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9pPr>
            </a:lstStyle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400" b="0" i="0" u="none" strike="noStrike" kern="1200" cap="none" spc="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CiscoSansTT ExtraLight"/>
                <a:ea typeface="ＭＳ Ｐゴシック" charset="0"/>
              </a:endParaRPr>
            </a:p>
          </p:txBody>
        </p:sp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A7105817-63CD-004C-B78F-4E217FD2A0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47522" y="3978642"/>
              <a:ext cx="114749" cy="11570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4572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2pPr>
              <a:lvl3pPr marL="9144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3pPr>
              <a:lvl4pPr marL="13716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4pPr>
              <a:lvl5pPr marL="18288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5pPr>
              <a:lvl6pPr marL="2286000" algn="l" defTabSz="4572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6pPr>
              <a:lvl7pPr marL="2743200" algn="l" defTabSz="4572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7pPr>
              <a:lvl8pPr marL="3200400" algn="l" defTabSz="4572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8pPr>
              <a:lvl9pPr marL="3657600" algn="l" defTabSz="4572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9pPr>
            </a:lstStyle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400" b="0" i="0" u="none" strike="noStrike" kern="1200" cap="none" spc="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CiscoSansTT ExtraLight"/>
                <a:ea typeface="ＭＳ Ｐゴシック" charset="0"/>
              </a:endParaRPr>
            </a:p>
          </p:txBody>
        </p:sp>
        <p:sp>
          <p:nvSpPr>
            <p:cNvPr id="63" name="Oval 62">
              <a:extLst>
                <a:ext uri="{FF2B5EF4-FFF2-40B4-BE49-F238E27FC236}">
                  <a16:creationId xmlns:a16="http://schemas.microsoft.com/office/drawing/2014/main" id="{3ED99C86-7421-144D-B867-AF62DEF87E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40910" y="3919519"/>
              <a:ext cx="115067" cy="114749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4572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2pPr>
              <a:lvl3pPr marL="9144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3pPr>
              <a:lvl4pPr marL="13716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4pPr>
              <a:lvl5pPr marL="18288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5pPr>
              <a:lvl6pPr marL="2286000" algn="l" defTabSz="4572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6pPr>
              <a:lvl7pPr marL="2743200" algn="l" defTabSz="4572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7pPr>
              <a:lvl8pPr marL="3200400" algn="l" defTabSz="4572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8pPr>
              <a:lvl9pPr marL="3657600" algn="l" defTabSz="4572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9pPr>
            </a:lstStyle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400" b="0" i="0" u="none" strike="noStrike" kern="1200" cap="none" spc="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CiscoSansTT ExtraLight"/>
                <a:ea typeface="ＭＳ Ｐゴシック" charset="0"/>
              </a:endParaRPr>
            </a:p>
          </p:txBody>
        </p:sp>
        <p:sp>
          <p:nvSpPr>
            <p:cNvPr id="64" name="Freeform 63">
              <a:extLst>
                <a:ext uri="{FF2B5EF4-FFF2-40B4-BE49-F238E27FC236}">
                  <a16:creationId xmlns:a16="http://schemas.microsoft.com/office/drawing/2014/main" id="{557B2D19-6AF7-5C43-8936-9A1F65A4C5DE}"/>
                </a:ext>
              </a:extLst>
            </p:cNvPr>
            <p:cNvSpPr>
              <a:spLocks/>
            </p:cNvSpPr>
            <p:nvPr/>
          </p:nvSpPr>
          <p:spPr bwMode="auto">
            <a:xfrm>
              <a:off x="7472569" y="4090530"/>
              <a:ext cx="259059" cy="176414"/>
            </a:xfrm>
            <a:custGeom>
              <a:avLst/>
              <a:gdLst>
                <a:gd name="T0" fmla="*/ 331 w 345"/>
                <a:gd name="T1" fmla="*/ 51 h 235"/>
                <a:gd name="T2" fmla="*/ 170 w 345"/>
                <a:gd name="T3" fmla="*/ 0 h 235"/>
                <a:gd name="T4" fmla="*/ 14 w 345"/>
                <a:gd name="T5" fmla="*/ 47 h 235"/>
                <a:gd name="T6" fmla="*/ 0 w 345"/>
                <a:gd name="T7" fmla="*/ 235 h 235"/>
                <a:gd name="T8" fmla="*/ 345 w 345"/>
                <a:gd name="T9" fmla="*/ 235 h 235"/>
                <a:gd name="T10" fmla="*/ 331 w 345"/>
                <a:gd name="T11" fmla="*/ 51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5" h="235">
                  <a:moveTo>
                    <a:pt x="331" y="51"/>
                  </a:moveTo>
                  <a:cubicBezTo>
                    <a:pt x="279" y="19"/>
                    <a:pt x="240" y="0"/>
                    <a:pt x="170" y="0"/>
                  </a:cubicBezTo>
                  <a:cubicBezTo>
                    <a:pt x="102" y="0"/>
                    <a:pt x="65" y="17"/>
                    <a:pt x="14" y="47"/>
                  </a:cubicBezTo>
                  <a:cubicBezTo>
                    <a:pt x="14" y="47"/>
                    <a:pt x="7" y="132"/>
                    <a:pt x="0" y="235"/>
                  </a:cubicBezTo>
                  <a:cubicBezTo>
                    <a:pt x="345" y="235"/>
                    <a:pt x="345" y="235"/>
                    <a:pt x="345" y="235"/>
                  </a:cubicBezTo>
                  <a:lnTo>
                    <a:pt x="331" y="51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4572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2pPr>
              <a:lvl3pPr marL="9144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3pPr>
              <a:lvl4pPr marL="13716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4pPr>
              <a:lvl5pPr marL="18288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5pPr>
              <a:lvl6pPr marL="2286000" algn="l" defTabSz="4572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6pPr>
              <a:lvl7pPr marL="2743200" algn="l" defTabSz="4572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7pPr>
              <a:lvl8pPr marL="3200400" algn="l" defTabSz="4572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8pPr>
              <a:lvl9pPr marL="3657600" algn="l" defTabSz="4572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9pPr>
            </a:lstStyle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400" b="0" i="0" u="none" strike="noStrike" kern="1200" cap="none" spc="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CiscoSansTT ExtraLight"/>
                <a:ea typeface="ＭＳ Ｐゴシック" charset="0"/>
              </a:endParaRPr>
            </a:p>
          </p:txBody>
        </p:sp>
        <p:sp>
          <p:nvSpPr>
            <p:cNvPr id="65" name="Freeform 64">
              <a:extLst>
                <a:ext uri="{FF2B5EF4-FFF2-40B4-BE49-F238E27FC236}">
                  <a16:creationId xmlns:a16="http://schemas.microsoft.com/office/drawing/2014/main" id="{3099F9C6-7B50-984E-908F-A4EA7623DC8C}"/>
                </a:ext>
              </a:extLst>
            </p:cNvPr>
            <p:cNvSpPr>
              <a:spLocks/>
            </p:cNvSpPr>
            <p:nvPr/>
          </p:nvSpPr>
          <p:spPr bwMode="auto">
            <a:xfrm>
              <a:off x="7763097" y="4148381"/>
              <a:ext cx="127146" cy="118563"/>
            </a:xfrm>
            <a:custGeom>
              <a:avLst/>
              <a:gdLst>
                <a:gd name="T0" fmla="*/ 0 w 169"/>
                <a:gd name="T1" fmla="*/ 2 h 158"/>
                <a:gd name="T2" fmla="*/ 13 w 169"/>
                <a:gd name="T3" fmla="*/ 158 h 158"/>
                <a:gd name="T4" fmla="*/ 169 w 169"/>
                <a:gd name="T5" fmla="*/ 158 h 158"/>
                <a:gd name="T6" fmla="*/ 158 w 169"/>
                <a:gd name="T7" fmla="*/ 34 h 158"/>
                <a:gd name="T8" fmla="*/ 33 w 169"/>
                <a:gd name="T9" fmla="*/ 0 h 158"/>
                <a:gd name="T10" fmla="*/ 0 w 169"/>
                <a:gd name="T11" fmla="*/ 2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9" h="158">
                  <a:moveTo>
                    <a:pt x="0" y="2"/>
                  </a:moveTo>
                  <a:cubicBezTo>
                    <a:pt x="13" y="158"/>
                    <a:pt x="13" y="158"/>
                    <a:pt x="13" y="158"/>
                  </a:cubicBezTo>
                  <a:cubicBezTo>
                    <a:pt x="169" y="158"/>
                    <a:pt x="169" y="158"/>
                    <a:pt x="169" y="158"/>
                  </a:cubicBezTo>
                  <a:cubicBezTo>
                    <a:pt x="158" y="34"/>
                    <a:pt x="158" y="34"/>
                    <a:pt x="158" y="34"/>
                  </a:cubicBezTo>
                  <a:cubicBezTo>
                    <a:pt x="118" y="13"/>
                    <a:pt x="88" y="0"/>
                    <a:pt x="33" y="0"/>
                  </a:cubicBezTo>
                  <a:cubicBezTo>
                    <a:pt x="21" y="0"/>
                    <a:pt x="10" y="0"/>
                    <a:pt x="0" y="2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4572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2pPr>
              <a:lvl3pPr marL="9144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3pPr>
              <a:lvl4pPr marL="13716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4pPr>
              <a:lvl5pPr marL="18288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5pPr>
              <a:lvl6pPr marL="2286000" algn="l" defTabSz="4572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6pPr>
              <a:lvl7pPr marL="2743200" algn="l" defTabSz="4572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7pPr>
              <a:lvl8pPr marL="3200400" algn="l" defTabSz="4572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8pPr>
              <a:lvl9pPr marL="3657600" algn="l" defTabSz="4572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9pPr>
            </a:lstStyle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400" b="0" i="0" u="none" strike="noStrike" kern="1200" cap="none" spc="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CiscoSansTT ExtraLight"/>
                <a:ea typeface="ＭＳ Ｐゴシック" charset="0"/>
              </a:endParaRPr>
            </a:p>
          </p:txBody>
        </p:sp>
        <p:sp>
          <p:nvSpPr>
            <p:cNvPr id="66" name="Freeform 65">
              <a:extLst>
                <a:ext uri="{FF2B5EF4-FFF2-40B4-BE49-F238E27FC236}">
                  <a16:creationId xmlns:a16="http://schemas.microsoft.com/office/drawing/2014/main" id="{D1E549D2-49AC-6B4B-91DC-F7E585E77F3D}"/>
                </a:ext>
              </a:extLst>
            </p:cNvPr>
            <p:cNvSpPr>
              <a:spLocks/>
            </p:cNvSpPr>
            <p:nvPr/>
          </p:nvSpPr>
          <p:spPr bwMode="auto">
            <a:xfrm>
              <a:off x="7310458" y="4150606"/>
              <a:ext cx="127464" cy="118881"/>
            </a:xfrm>
            <a:custGeom>
              <a:avLst/>
              <a:gdLst>
                <a:gd name="T0" fmla="*/ 170 w 170"/>
                <a:gd name="T1" fmla="*/ 2 h 158"/>
                <a:gd name="T2" fmla="*/ 136 w 170"/>
                <a:gd name="T3" fmla="*/ 0 h 158"/>
                <a:gd name="T4" fmla="*/ 11 w 170"/>
                <a:gd name="T5" fmla="*/ 34 h 158"/>
                <a:gd name="T6" fmla="*/ 0 w 170"/>
                <a:gd name="T7" fmla="*/ 158 h 158"/>
                <a:gd name="T8" fmla="*/ 156 w 170"/>
                <a:gd name="T9" fmla="*/ 158 h 158"/>
                <a:gd name="T10" fmla="*/ 170 w 170"/>
                <a:gd name="T11" fmla="*/ 2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0" h="158">
                  <a:moveTo>
                    <a:pt x="170" y="2"/>
                  </a:moveTo>
                  <a:cubicBezTo>
                    <a:pt x="159" y="1"/>
                    <a:pt x="148" y="0"/>
                    <a:pt x="136" y="0"/>
                  </a:cubicBezTo>
                  <a:cubicBezTo>
                    <a:pt x="81" y="0"/>
                    <a:pt x="51" y="13"/>
                    <a:pt x="11" y="34"/>
                  </a:cubicBezTo>
                  <a:cubicBezTo>
                    <a:pt x="0" y="158"/>
                    <a:pt x="0" y="158"/>
                    <a:pt x="0" y="158"/>
                  </a:cubicBezTo>
                  <a:cubicBezTo>
                    <a:pt x="156" y="158"/>
                    <a:pt x="156" y="158"/>
                    <a:pt x="156" y="158"/>
                  </a:cubicBezTo>
                  <a:lnTo>
                    <a:pt x="170" y="2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4572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2pPr>
              <a:lvl3pPr marL="9144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3pPr>
              <a:lvl4pPr marL="13716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4pPr>
              <a:lvl5pPr marL="18288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5pPr>
              <a:lvl6pPr marL="2286000" algn="l" defTabSz="4572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6pPr>
              <a:lvl7pPr marL="2743200" algn="l" defTabSz="4572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7pPr>
              <a:lvl8pPr marL="3200400" algn="l" defTabSz="4572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8pPr>
              <a:lvl9pPr marL="3657600" algn="l" defTabSz="4572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9pPr>
            </a:lstStyle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400" b="0" i="0" u="none" strike="noStrike" kern="1200" cap="none" spc="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CiscoSansTT ExtraLight"/>
                <a:ea typeface="ＭＳ Ｐゴシック" charset="0"/>
              </a:endParaRPr>
            </a:p>
          </p:txBody>
        </p:sp>
        <p:sp>
          <p:nvSpPr>
            <p:cNvPr id="67" name="Freeform 66">
              <a:extLst>
                <a:ext uri="{FF2B5EF4-FFF2-40B4-BE49-F238E27FC236}">
                  <a16:creationId xmlns:a16="http://schemas.microsoft.com/office/drawing/2014/main" id="{54CBD2D8-7D00-0D4E-A128-76D423AA7B6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28640" y="3740880"/>
              <a:ext cx="941514" cy="734900"/>
            </a:xfrm>
            <a:custGeom>
              <a:avLst/>
              <a:gdLst>
                <a:gd name="T0" fmla="*/ 1176 w 1254"/>
                <a:gd name="T1" fmla="*/ 0 h 979"/>
                <a:gd name="T2" fmla="*/ 79 w 1254"/>
                <a:gd name="T3" fmla="*/ 0 h 979"/>
                <a:gd name="T4" fmla="*/ 0 w 1254"/>
                <a:gd name="T5" fmla="*/ 78 h 979"/>
                <a:gd name="T6" fmla="*/ 0 w 1254"/>
                <a:gd name="T7" fmla="*/ 901 h 979"/>
                <a:gd name="T8" fmla="*/ 79 w 1254"/>
                <a:gd name="T9" fmla="*/ 979 h 979"/>
                <a:gd name="T10" fmla="*/ 1176 w 1254"/>
                <a:gd name="T11" fmla="*/ 979 h 979"/>
                <a:gd name="T12" fmla="*/ 1254 w 1254"/>
                <a:gd name="T13" fmla="*/ 901 h 979"/>
                <a:gd name="T14" fmla="*/ 1254 w 1254"/>
                <a:gd name="T15" fmla="*/ 78 h 979"/>
                <a:gd name="T16" fmla="*/ 1176 w 1254"/>
                <a:gd name="T17" fmla="*/ 0 h 979"/>
                <a:gd name="T18" fmla="*/ 1137 w 1254"/>
                <a:gd name="T19" fmla="*/ 117 h 979"/>
                <a:gd name="T20" fmla="*/ 1137 w 1254"/>
                <a:gd name="T21" fmla="*/ 862 h 979"/>
                <a:gd name="T22" fmla="*/ 118 w 1254"/>
                <a:gd name="T23" fmla="*/ 862 h 979"/>
                <a:gd name="T24" fmla="*/ 118 w 1254"/>
                <a:gd name="T25" fmla="*/ 114 h 979"/>
                <a:gd name="T26" fmla="*/ 1137 w 1254"/>
                <a:gd name="T27" fmla="*/ 114 h 979"/>
                <a:gd name="T28" fmla="*/ 1137 w 1254"/>
                <a:gd name="T29" fmla="*/ 117 h 9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54" h="979">
                  <a:moveTo>
                    <a:pt x="1176" y="0"/>
                  </a:moveTo>
                  <a:cubicBezTo>
                    <a:pt x="79" y="0"/>
                    <a:pt x="79" y="0"/>
                    <a:pt x="79" y="0"/>
                  </a:cubicBezTo>
                  <a:cubicBezTo>
                    <a:pt x="36" y="0"/>
                    <a:pt x="0" y="35"/>
                    <a:pt x="0" y="78"/>
                  </a:cubicBezTo>
                  <a:cubicBezTo>
                    <a:pt x="0" y="901"/>
                    <a:pt x="0" y="901"/>
                    <a:pt x="0" y="901"/>
                  </a:cubicBezTo>
                  <a:cubicBezTo>
                    <a:pt x="0" y="944"/>
                    <a:pt x="36" y="979"/>
                    <a:pt x="79" y="979"/>
                  </a:cubicBezTo>
                  <a:cubicBezTo>
                    <a:pt x="1176" y="979"/>
                    <a:pt x="1176" y="979"/>
                    <a:pt x="1176" y="979"/>
                  </a:cubicBezTo>
                  <a:cubicBezTo>
                    <a:pt x="1219" y="979"/>
                    <a:pt x="1254" y="944"/>
                    <a:pt x="1254" y="901"/>
                  </a:cubicBezTo>
                  <a:cubicBezTo>
                    <a:pt x="1254" y="78"/>
                    <a:pt x="1254" y="78"/>
                    <a:pt x="1254" y="78"/>
                  </a:cubicBezTo>
                  <a:cubicBezTo>
                    <a:pt x="1254" y="35"/>
                    <a:pt x="1219" y="0"/>
                    <a:pt x="1176" y="0"/>
                  </a:cubicBezTo>
                  <a:close/>
                  <a:moveTo>
                    <a:pt x="1137" y="117"/>
                  </a:moveTo>
                  <a:cubicBezTo>
                    <a:pt x="1137" y="862"/>
                    <a:pt x="1137" y="862"/>
                    <a:pt x="1137" y="862"/>
                  </a:cubicBezTo>
                  <a:cubicBezTo>
                    <a:pt x="118" y="862"/>
                    <a:pt x="118" y="862"/>
                    <a:pt x="118" y="862"/>
                  </a:cubicBezTo>
                  <a:cubicBezTo>
                    <a:pt x="118" y="114"/>
                    <a:pt x="118" y="114"/>
                    <a:pt x="118" y="114"/>
                  </a:cubicBezTo>
                  <a:cubicBezTo>
                    <a:pt x="1137" y="114"/>
                    <a:pt x="1137" y="114"/>
                    <a:pt x="1137" y="114"/>
                  </a:cubicBezTo>
                  <a:lnTo>
                    <a:pt x="1137" y="117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4572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2pPr>
              <a:lvl3pPr marL="9144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3pPr>
              <a:lvl4pPr marL="13716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4pPr>
              <a:lvl5pPr marL="18288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5pPr>
              <a:lvl6pPr marL="2286000" algn="l" defTabSz="4572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6pPr>
              <a:lvl7pPr marL="2743200" algn="l" defTabSz="4572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7pPr>
              <a:lvl8pPr marL="3200400" algn="l" defTabSz="4572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8pPr>
              <a:lvl9pPr marL="3657600" algn="l" defTabSz="4572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9pPr>
            </a:lstStyle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400" b="0" i="0" u="none" strike="noStrike" kern="1200" cap="none" spc="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CiscoSansTT ExtraLight"/>
                <a:ea typeface="ＭＳ Ｐゴシック" charset="0"/>
              </a:endParaRPr>
            </a:p>
          </p:txBody>
        </p:sp>
        <p:sp>
          <p:nvSpPr>
            <p:cNvPr id="68" name="Freeform 67">
              <a:extLst>
                <a:ext uri="{FF2B5EF4-FFF2-40B4-BE49-F238E27FC236}">
                  <a16:creationId xmlns:a16="http://schemas.microsoft.com/office/drawing/2014/main" id="{CE179E64-8ACF-334D-A001-900B8A7B8DB5}"/>
                </a:ext>
              </a:extLst>
            </p:cNvPr>
            <p:cNvSpPr>
              <a:spLocks/>
            </p:cNvSpPr>
            <p:nvPr/>
          </p:nvSpPr>
          <p:spPr bwMode="auto">
            <a:xfrm>
              <a:off x="7364495" y="4566054"/>
              <a:ext cx="470757" cy="115384"/>
            </a:xfrm>
            <a:custGeom>
              <a:avLst/>
              <a:gdLst>
                <a:gd name="T0" fmla="*/ 0 w 627"/>
                <a:gd name="T1" fmla="*/ 85 h 154"/>
                <a:gd name="T2" fmla="*/ 0 w 627"/>
                <a:gd name="T3" fmla="*/ 154 h 154"/>
                <a:gd name="T4" fmla="*/ 627 w 627"/>
                <a:gd name="T5" fmla="*/ 154 h 154"/>
                <a:gd name="T6" fmla="*/ 627 w 627"/>
                <a:gd name="T7" fmla="*/ 85 h 154"/>
                <a:gd name="T8" fmla="*/ 313 w 627"/>
                <a:gd name="T9" fmla="*/ 0 h 154"/>
                <a:gd name="T10" fmla="*/ 0 w 627"/>
                <a:gd name="T11" fmla="*/ 85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7" h="154">
                  <a:moveTo>
                    <a:pt x="0" y="85"/>
                  </a:moveTo>
                  <a:cubicBezTo>
                    <a:pt x="0" y="154"/>
                    <a:pt x="0" y="154"/>
                    <a:pt x="0" y="154"/>
                  </a:cubicBezTo>
                  <a:cubicBezTo>
                    <a:pt x="627" y="154"/>
                    <a:pt x="627" y="154"/>
                    <a:pt x="627" y="154"/>
                  </a:cubicBezTo>
                  <a:cubicBezTo>
                    <a:pt x="627" y="85"/>
                    <a:pt x="627" y="85"/>
                    <a:pt x="627" y="85"/>
                  </a:cubicBezTo>
                  <a:cubicBezTo>
                    <a:pt x="534" y="32"/>
                    <a:pt x="428" y="0"/>
                    <a:pt x="313" y="0"/>
                  </a:cubicBezTo>
                  <a:cubicBezTo>
                    <a:pt x="199" y="0"/>
                    <a:pt x="92" y="32"/>
                    <a:pt x="0" y="8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4572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2pPr>
              <a:lvl3pPr marL="9144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3pPr>
              <a:lvl4pPr marL="13716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4pPr>
              <a:lvl5pPr marL="18288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5pPr>
              <a:lvl6pPr marL="2286000" algn="l" defTabSz="4572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6pPr>
              <a:lvl7pPr marL="2743200" algn="l" defTabSz="4572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7pPr>
              <a:lvl8pPr marL="3200400" algn="l" defTabSz="4572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8pPr>
              <a:lvl9pPr marL="3657600" algn="l" defTabSz="4572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9pPr>
            </a:lstStyle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400" b="0" i="0" u="none" strike="noStrike" kern="1200" cap="none" spc="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CiscoSansTT ExtraLight"/>
                <a:ea typeface="ＭＳ Ｐゴシック" charset="0"/>
              </a:endParaRPr>
            </a:p>
          </p:txBody>
        </p:sp>
      </p:grpSp>
      <p:sp>
        <p:nvSpPr>
          <p:cNvPr id="69" name="L_eco">
            <a:extLst>
              <a:ext uri="{FF2B5EF4-FFF2-40B4-BE49-F238E27FC236}">
                <a16:creationId xmlns:a16="http://schemas.microsoft.com/office/drawing/2014/main" id="{D4BACF3F-4E15-B24A-8828-E28724335B6E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2037930" y="4584928"/>
            <a:ext cx="788240" cy="720000"/>
          </a:xfrm>
          <a:custGeom>
            <a:avLst/>
            <a:gdLst>
              <a:gd name="T0" fmla="*/ 438 w 521"/>
              <a:gd name="T1" fmla="*/ 227 h 473"/>
              <a:gd name="T2" fmla="*/ 339 w 521"/>
              <a:gd name="T3" fmla="*/ 172 h 473"/>
              <a:gd name="T4" fmla="*/ 444 w 521"/>
              <a:gd name="T5" fmla="*/ 112 h 473"/>
              <a:gd name="T6" fmla="*/ 385 w 521"/>
              <a:gd name="T7" fmla="*/ 53 h 473"/>
              <a:gd name="T8" fmla="*/ 325 w 521"/>
              <a:gd name="T9" fmla="*/ 158 h 473"/>
              <a:gd name="T10" fmla="*/ 270 w 521"/>
              <a:gd name="T11" fmla="*/ 83 h 473"/>
              <a:gd name="T12" fmla="*/ 260 w 521"/>
              <a:gd name="T13" fmla="*/ 0 h 473"/>
              <a:gd name="T14" fmla="*/ 250 w 521"/>
              <a:gd name="T15" fmla="*/ 83 h 473"/>
              <a:gd name="T16" fmla="*/ 196 w 521"/>
              <a:gd name="T17" fmla="*/ 158 h 473"/>
              <a:gd name="T18" fmla="*/ 135 w 521"/>
              <a:gd name="T19" fmla="*/ 53 h 473"/>
              <a:gd name="T20" fmla="*/ 76 w 521"/>
              <a:gd name="T21" fmla="*/ 112 h 473"/>
              <a:gd name="T22" fmla="*/ 182 w 521"/>
              <a:gd name="T23" fmla="*/ 172 h 473"/>
              <a:gd name="T24" fmla="*/ 82 w 521"/>
              <a:gd name="T25" fmla="*/ 227 h 473"/>
              <a:gd name="T26" fmla="*/ 0 w 521"/>
              <a:gd name="T27" fmla="*/ 237 h 473"/>
              <a:gd name="T28" fmla="*/ 82 w 521"/>
              <a:gd name="T29" fmla="*/ 247 h 473"/>
              <a:gd name="T30" fmla="*/ 182 w 521"/>
              <a:gd name="T31" fmla="*/ 301 h 473"/>
              <a:gd name="T32" fmla="*/ 76 w 521"/>
              <a:gd name="T33" fmla="*/ 362 h 473"/>
              <a:gd name="T34" fmla="*/ 135 w 521"/>
              <a:gd name="T35" fmla="*/ 421 h 473"/>
              <a:gd name="T36" fmla="*/ 196 w 521"/>
              <a:gd name="T37" fmla="*/ 315 h 473"/>
              <a:gd name="T38" fmla="*/ 250 w 521"/>
              <a:gd name="T39" fmla="*/ 391 h 473"/>
              <a:gd name="T40" fmla="*/ 260 w 521"/>
              <a:gd name="T41" fmla="*/ 473 h 473"/>
              <a:gd name="T42" fmla="*/ 270 w 521"/>
              <a:gd name="T43" fmla="*/ 391 h 473"/>
              <a:gd name="T44" fmla="*/ 325 w 521"/>
              <a:gd name="T45" fmla="*/ 315 h 473"/>
              <a:gd name="T46" fmla="*/ 385 w 521"/>
              <a:gd name="T47" fmla="*/ 421 h 473"/>
              <a:gd name="T48" fmla="*/ 444 w 521"/>
              <a:gd name="T49" fmla="*/ 362 h 473"/>
              <a:gd name="T50" fmla="*/ 339 w 521"/>
              <a:gd name="T51" fmla="*/ 301 h 473"/>
              <a:gd name="T52" fmla="*/ 438 w 521"/>
              <a:gd name="T53" fmla="*/ 247 h 473"/>
              <a:gd name="T54" fmla="*/ 521 w 521"/>
              <a:gd name="T55" fmla="*/ 237 h 473"/>
              <a:gd name="T56" fmla="*/ 309 w 521"/>
              <a:gd name="T57" fmla="*/ 285 h 473"/>
              <a:gd name="T58" fmla="*/ 212 w 521"/>
              <a:gd name="T59" fmla="*/ 188 h 473"/>
              <a:gd name="T60" fmla="*/ 309 w 521"/>
              <a:gd name="T61" fmla="*/ 285 h 473"/>
              <a:gd name="T62" fmla="*/ 233 w 521"/>
              <a:gd name="T63" fmla="*/ 264 h 473"/>
              <a:gd name="T64" fmla="*/ 288 w 521"/>
              <a:gd name="T65" fmla="*/ 209 h 4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21" h="473">
                <a:moveTo>
                  <a:pt x="479" y="195"/>
                </a:moveTo>
                <a:cubicBezTo>
                  <a:pt x="459" y="195"/>
                  <a:pt x="443" y="208"/>
                  <a:pt x="438" y="227"/>
                </a:cubicBezTo>
                <a:cubicBezTo>
                  <a:pt x="361" y="227"/>
                  <a:pt x="361" y="227"/>
                  <a:pt x="361" y="227"/>
                </a:cubicBezTo>
                <a:cubicBezTo>
                  <a:pt x="359" y="206"/>
                  <a:pt x="351" y="187"/>
                  <a:pt x="339" y="172"/>
                </a:cubicBezTo>
                <a:cubicBezTo>
                  <a:pt x="393" y="118"/>
                  <a:pt x="393" y="118"/>
                  <a:pt x="393" y="118"/>
                </a:cubicBezTo>
                <a:cubicBezTo>
                  <a:pt x="409" y="128"/>
                  <a:pt x="431" y="126"/>
                  <a:pt x="444" y="112"/>
                </a:cubicBezTo>
                <a:cubicBezTo>
                  <a:pt x="461" y="95"/>
                  <a:pt x="461" y="69"/>
                  <a:pt x="444" y="53"/>
                </a:cubicBezTo>
                <a:cubicBezTo>
                  <a:pt x="428" y="36"/>
                  <a:pt x="402" y="36"/>
                  <a:pt x="385" y="53"/>
                </a:cubicBezTo>
                <a:cubicBezTo>
                  <a:pt x="371" y="66"/>
                  <a:pt x="369" y="88"/>
                  <a:pt x="379" y="104"/>
                </a:cubicBezTo>
                <a:cubicBezTo>
                  <a:pt x="325" y="158"/>
                  <a:pt x="325" y="158"/>
                  <a:pt x="325" y="158"/>
                </a:cubicBezTo>
                <a:cubicBezTo>
                  <a:pt x="310" y="146"/>
                  <a:pt x="291" y="138"/>
                  <a:pt x="270" y="136"/>
                </a:cubicBezTo>
                <a:cubicBezTo>
                  <a:pt x="270" y="83"/>
                  <a:pt x="270" y="83"/>
                  <a:pt x="270" y="83"/>
                </a:cubicBezTo>
                <a:cubicBezTo>
                  <a:pt x="288" y="78"/>
                  <a:pt x="302" y="62"/>
                  <a:pt x="302" y="42"/>
                </a:cubicBezTo>
                <a:cubicBezTo>
                  <a:pt x="302" y="19"/>
                  <a:pt x="283" y="0"/>
                  <a:pt x="260" y="0"/>
                </a:cubicBezTo>
                <a:cubicBezTo>
                  <a:pt x="237" y="0"/>
                  <a:pt x="218" y="19"/>
                  <a:pt x="218" y="42"/>
                </a:cubicBezTo>
                <a:cubicBezTo>
                  <a:pt x="218" y="62"/>
                  <a:pt x="232" y="78"/>
                  <a:pt x="250" y="83"/>
                </a:cubicBezTo>
                <a:cubicBezTo>
                  <a:pt x="250" y="136"/>
                  <a:pt x="250" y="136"/>
                  <a:pt x="250" y="136"/>
                </a:cubicBezTo>
                <a:cubicBezTo>
                  <a:pt x="230" y="138"/>
                  <a:pt x="211" y="146"/>
                  <a:pt x="196" y="158"/>
                </a:cubicBezTo>
                <a:cubicBezTo>
                  <a:pt x="141" y="104"/>
                  <a:pt x="141" y="104"/>
                  <a:pt x="141" y="104"/>
                </a:cubicBezTo>
                <a:cubicBezTo>
                  <a:pt x="151" y="88"/>
                  <a:pt x="149" y="66"/>
                  <a:pt x="135" y="53"/>
                </a:cubicBezTo>
                <a:cubicBezTo>
                  <a:pt x="119" y="36"/>
                  <a:pt x="92" y="36"/>
                  <a:pt x="76" y="53"/>
                </a:cubicBezTo>
                <a:cubicBezTo>
                  <a:pt x="60" y="69"/>
                  <a:pt x="60" y="95"/>
                  <a:pt x="76" y="112"/>
                </a:cubicBezTo>
                <a:cubicBezTo>
                  <a:pt x="90" y="126"/>
                  <a:pt x="111" y="128"/>
                  <a:pt x="127" y="118"/>
                </a:cubicBezTo>
                <a:cubicBezTo>
                  <a:pt x="182" y="172"/>
                  <a:pt x="182" y="172"/>
                  <a:pt x="182" y="172"/>
                </a:cubicBezTo>
                <a:cubicBezTo>
                  <a:pt x="169" y="187"/>
                  <a:pt x="161" y="206"/>
                  <a:pt x="159" y="227"/>
                </a:cubicBezTo>
                <a:cubicBezTo>
                  <a:pt x="82" y="227"/>
                  <a:pt x="82" y="227"/>
                  <a:pt x="82" y="227"/>
                </a:cubicBezTo>
                <a:cubicBezTo>
                  <a:pt x="78" y="208"/>
                  <a:pt x="61" y="195"/>
                  <a:pt x="41" y="195"/>
                </a:cubicBezTo>
                <a:cubicBezTo>
                  <a:pt x="18" y="195"/>
                  <a:pt x="0" y="214"/>
                  <a:pt x="0" y="237"/>
                </a:cubicBezTo>
                <a:cubicBezTo>
                  <a:pt x="0" y="260"/>
                  <a:pt x="18" y="279"/>
                  <a:pt x="41" y="279"/>
                </a:cubicBezTo>
                <a:cubicBezTo>
                  <a:pt x="61" y="279"/>
                  <a:pt x="78" y="265"/>
                  <a:pt x="82" y="247"/>
                </a:cubicBezTo>
                <a:cubicBezTo>
                  <a:pt x="159" y="247"/>
                  <a:pt x="159" y="247"/>
                  <a:pt x="159" y="247"/>
                </a:cubicBezTo>
                <a:cubicBezTo>
                  <a:pt x="161" y="267"/>
                  <a:pt x="169" y="286"/>
                  <a:pt x="182" y="301"/>
                </a:cubicBezTo>
                <a:cubicBezTo>
                  <a:pt x="127" y="356"/>
                  <a:pt x="127" y="356"/>
                  <a:pt x="127" y="356"/>
                </a:cubicBezTo>
                <a:cubicBezTo>
                  <a:pt x="111" y="346"/>
                  <a:pt x="90" y="348"/>
                  <a:pt x="76" y="362"/>
                </a:cubicBezTo>
                <a:cubicBezTo>
                  <a:pt x="60" y="378"/>
                  <a:pt x="60" y="405"/>
                  <a:pt x="76" y="421"/>
                </a:cubicBezTo>
                <a:cubicBezTo>
                  <a:pt x="92" y="437"/>
                  <a:pt x="119" y="437"/>
                  <a:pt x="135" y="421"/>
                </a:cubicBezTo>
                <a:cubicBezTo>
                  <a:pt x="149" y="407"/>
                  <a:pt x="151" y="386"/>
                  <a:pt x="141" y="370"/>
                </a:cubicBezTo>
                <a:cubicBezTo>
                  <a:pt x="196" y="315"/>
                  <a:pt x="196" y="315"/>
                  <a:pt x="196" y="315"/>
                </a:cubicBezTo>
                <a:cubicBezTo>
                  <a:pt x="211" y="328"/>
                  <a:pt x="230" y="336"/>
                  <a:pt x="250" y="338"/>
                </a:cubicBezTo>
                <a:cubicBezTo>
                  <a:pt x="250" y="391"/>
                  <a:pt x="250" y="391"/>
                  <a:pt x="250" y="391"/>
                </a:cubicBezTo>
                <a:cubicBezTo>
                  <a:pt x="232" y="395"/>
                  <a:pt x="218" y="412"/>
                  <a:pt x="218" y="431"/>
                </a:cubicBezTo>
                <a:cubicBezTo>
                  <a:pt x="218" y="455"/>
                  <a:pt x="237" y="473"/>
                  <a:pt x="260" y="473"/>
                </a:cubicBezTo>
                <a:cubicBezTo>
                  <a:pt x="283" y="473"/>
                  <a:pt x="302" y="455"/>
                  <a:pt x="302" y="431"/>
                </a:cubicBezTo>
                <a:cubicBezTo>
                  <a:pt x="302" y="412"/>
                  <a:pt x="288" y="395"/>
                  <a:pt x="270" y="391"/>
                </a:cubicBezTo>
                <a:cubicBezTo>
                  <a:pt x="270" y="338"/>
                  <a:pt x="270" y="338"/>
                  <a:pt x="270" y="338"/>
                </a:cubicBezTo>
                <a:cubicBezTo>
                  <a:pt x="291" y="336"/>
                  <a:pt x="310" y="328"/>
                  <a:pt x="325" y="315"/>
                </a:cubicBezTo>
                <a:cubicBezTo>
                  <a:pt x="379" y="370"/>
                  <a:pt x="379" y="370"/>
                  <a:pt x="379" y="370"/>
                </a:cubicBezTo>
                <a:cubicBezTo>
                  <a:pt x="369" y="386"/>
                  <a:pt x="371" y="407"/>
                  <a:pt x="385" y="421"/>
                </a:cubicBezTo>
                <a:cubicBezTo>
                  <a:pt x="402" y="437"/>
                  <a:pt x="428" y="437"/>
                  <a:pt x="444" y="421"/>
                </a:cubicBezTo>
                <a:cubicBezTo>
                  <a:pt x="461" y="405"/>
                  <a:pt x="461" y="378"/>
                  <a:pt x="444" y="362"/>
                </a:cubicBezTo>
                <a:cubicBezTo>
                  <a:pt x="431" y="348"/>
                  <a:pt x="409" y="346"/>
                  <a:pt x="393" y="356"/>
                </a:cubicBezTo>
                <a:cubicBezTo>
                  <a:pt x="339" y="301"/>
                  <a:pt x="339" y="301"/>
                  <a:pt x="339" y="301"/>
                </a:cubicBezTo>
                <a:cubicBezTo>
                  <a:pt x="351" y="286"/>
                  <a:pt x="359" y="267"/>
                  <a:pt x="361" y="247"/>
                </a:cubicBezTo>
                <a:cubicBezTo>
                  <a:pt x="438" y="247"/>
                  <a:pt x="438" y="247"/>
                  <a:pt x="438" y="247"/>
                </a:cubicBezTo>
                <a:cubicBezTo>
                  <a:pt x="443" y="265"/>
                  <a:pt x="459" y="279"/>
                  <a:pt x="479" y="279"/>
                </a:cubicBezTo>
                <a:cubicBezTo>
                  <a:pt x="502" y="279"/>
                  <a:pt x="521" y="260"/>
                  <a:pt x="521" y="237"/>
                </a:cubicBezTo>
                <a:cubicBezTo>
                  <a:pt x="521" y="214"/>
                  <a:pt x="502" y="195"/>
                  <a:pt x="479" y="195"/>
                </a:cubicBezTo>
                <a:close/>
                <a:moveTo>
                  <a:pt x="309" y="285"/>
                </a:moveTo>
                <a:cubicBezTo>
                  <a:pt x="282" y="312"/>
                  <a:pt x="238" y="312"/>
                  <a:pt x="212" y="285"/>
                </a:cubicBezTo>
                <a:cubicBezTo>
                  <a:pt x="185" y="258"/>
                  <a:pt x="185" y="215"/>
                  <a:pt x="212" y="188"/>
                </a:cubicBezTo>
                <a:cubicBezTo>
                  <a:pt x="238" y="161"/>
                  <a:pt x="282" y="161"/>
                  <a:pt x="309" y="188"/>
                </a:cubicBezTo>
                <a:cubicBezTo>
                  <a:pt x="336" y="215"/>
                  <a:pt x="336" y="258"/>
                  <a:pt x="309" y="285"/>
                </a:cubicBezTo>
                <a:close/>
                <a:moveTo>
                  <a:pt x="288" y="264"/>
                </a:moveTo>
                <a:cubicBezTo>
                  <a:pt x="272" y="279"/>
                  <a:pt x="248" y="279"/>
                  <a:pt x="233" y="264"/>
                </a:cubicBezTo>
                <a:cubicBezTo>
                  <a:pt x="218" y="249"/>
                  <a:pt x="218" y="224"/>
                  <a:pt x="233" y="209"/>
                </a:cubicBezTo>
                <a:cubicBezTo>
                  <a:pt x="248" y="194"/>
                  <a:pt x="272" y="194"/>
                  <a:pt x="288" y="209"/>
                </a:cubicBezTo>
                <a:cubicBezTo>
                  <a:pt x="303" y="224"/>
                  <a:pt x="303" y="249"/>
                  <a:pt x="288" y="264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21899" tIns="60950" rIns="121899" bIns="6095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095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134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iscoSansTT ExtraLight"/>
              <a:ea typeface="+mn-ea"/>
              <a:cs typeface="+mn-cs"/>
            </a:endParaRPr>
          </a:p>
        </p:txBody>
      </p:sp>
      <p:pic>
        <p:nvPicPr>
          <p:cNvPr id="70" name="Picture 69">
            <a:extLst>
              <a:ext uri="{FF2B5EF4-FFF2-40B4-BE49-F238E27FC236}">
                <a16:creationId xmlns:a16="http://schemas.microsoft.com/office/drawing/2014/main" id="{B7585984-FE86-4845-B75C-F87FC14565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97726" y="486074"/>
            <a:ext cx="708588" cy="698090"/>
          </a:xfrm>
          <a:prstGeom prst="rect">
            <a:avLst/>
          </a:prstGeom>
        </p:spPr>
      </p:pic>
      <p:sp>
        <p:nvSpPr>
          <p:cNvPr id="71" name="Rectangle 70">
            <a:extLst>
              <a:ext uri="{FF2B5EF4-FFF2-40B4-BE49-F238E27FC236}">
                <a16:creationId xmlns:a16="http://schemas.microsoft.com/office/drawing/2014/main" id="{9ED1A470-71B9-5045-9E1E-029133678D75}"/>
              </a:ext>
            </a:extLst>
          </p:cNvPr>
          <p:cNvSpPr/>
          <p:nvPr/>
        </p:nvSpPr>
        <p:spPr>
          <a:xfrm>
            <a:off x="3698499" y="6108631"/>
            <a:ext cx="547239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US" b="1" u="sng" dirty="0">
                <a:solidFill>
                  <a:srgbClr val="005073"/>
                </a:solidFill>
              </a:rPr>
              <a:t>https://www.webex.com/team-collaboration.html</a:t>
            </a:r>
            <a:endParaRPr kumimoji="0" lang="it-IT" sz="1800" b="0" i="0" u="none" strike="noStrike" kern="1200" cap="none" spc="0" normalizeH="0" baseline="0" noProof="0" dirty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CiscoSansTT Extra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291552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</TotalTime>
  <Words>289</Words>
  <Application>Microsoft Office PowerPoint</Application>
  <PresentationFormat>Widescreen</PresentationFormat>
  <Paragraphs>32</Paragraphs>
  <Slides>1</Slides>
  <Notes>1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8</vt:i4>
      </vt:variant>
      <vt:variant>
        <vt:lpstr>Tema</vt:lpstr>
      </vt:variant>
      <vt:variant>
        <vt:i4>1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1</vt:i4>
      </vt:variant>
    </vt:vector>
  </HeadingPairs>
  <TitlesOfParts>
    <vt:vector size="11" baseType="lpstr">
      <vt:lpstr>ＭＳ Ｐゴシック</vt:lpstr>
      <vt:lpstr>Arial</vt:lpstr>
      <vt:lpstr>Calibri</vt:lpstr>
      <vt:lpstr>Calibri Light</vt:lpstr>
      <vt:lpstr>CiscoSans ExtraLight</vt:lpstr>
      <vt:lpstr>CiscoSans Light</vt:lpstr>
      <vt:lpstr>CiscoSansTT ExtraLight</vt:lpstr>
      <vt:lpstr>Segoe UI</vt:lpstr>
      <vt:lpstr>Tema di Office</vt:lpstr>
      <vt:lpstr>think-cell Slide</vt:lpstr>
      <vt:lpstr>Cisco Webex Team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standard di PowerPoint</dc:title>
  <dc:creator>Mancini Paola</dc:creator>
  <cp:lastModifiedBy>Mancini Paola</cp:lastModifiedBy>
  <cp:revision>3</cp:revision>
  <dcterms:created xsi:type="dcterms:W3CDTF">2019-05-10T14:38:33Z</dcterms:created>
  <dcterms:modified xsi:type="dcterms:W3CDTF">2019-05-10T14:43:41Z</dcterms:modified>
</cp:coreProperties>
</file>